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5.xml" ContentType="application/vnd.openxmlformats-officedocument.presentationml.tags+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6.xml" ContentType="application/vnd.openxmlformats-officedocument.presentationml.tags+xml"/>
  <Override PartName="/ppt/notesSlides/notesSlide22.xml" ContentType="application/vnd.openxmlformats-officedocument.presentationml.notesSlide+xml"/>
  <Override PartName="/ppt/tags/tag27.xml" ContentType="application/vnd.openxmlformats-officedocument.presentationml.tags+xml"/>
  <Override PartName="/ppt/notesSlides/notesSlide23.xml" ContentType="application/vnd.openxmlformats-officedocument.presentationml.notesSlide+xml"/>
  <Override PartName="/ppt/tags/tag28.xml" ContentType="application/vnd.openxmlformats-officedocument.presentationml.tags+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9.xml" ContentType="application/vnd.openxmlformats-officedocument.presentationml.tags+xml"/>
  <Override PartName="/ppt/notesSlides/notesSlide25.xml" ContentType="application/vnd.openxmlformats-officedocument.presentationml.notesSlide+xml"/>
  <Override PartName="/ppt/tags/tag30.xml" ContentType="application/vnd.openxmlformats-officedocument.presentationml.tags+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 id="2147483677" r:id="rId3"/>
  </p:sldMasterIdLst>
  <p:notesMasterIdLst>
    <p:notesMasterId r:id="rId32"/>
  </p:notesMasterIdLst>
  <p:sldIdLst>
    <p:sldId id="378" r:id="rId4"/>
    <p:sldId id="2038" r:id="rId5"/>
    <p:sldId id="371" r:id="rId6"/>
    <p:sldId id="372" r:id="rId7"/>
    <p:sldId id="373" r:id="rId8"/>
    <p:sldId id="374" r:id="rId9"/>
    <p:sldId id="379" r:id="rId10"/>
    <p:sldId id="2039" r:id="rId11"/>
    <p:sldId id="375" r:id="rId12"/>
    <p:sldId id="376" r:id="rId13"/>
    <p:sldId id="2040" r:id="rId14"/>
    <p:sldId id="377" r:id="rId15"/>
    <p:sldId id="348" r:id="rId16"/>
    <p:sldId id="349" r:id="rId17"/>
    <p:sldId id="350" r:id="rId18"/>
    <p:sldId id="389" r:id="rId19"/>
    <p:sldId id="352" r:id="rId20"/>
    <p:sldId id="353" r:id="rId21"/>
    <p:sldId id="410" r:id="rId22"/>
    <p:sldId id="357" r:id="rId23"/>
    <p:sldId id="358" r:id="rId24"/>
    <p:sldId id="361" r:id="rId25"/>
    <p:sldId id="402" r:id="rId26"/>
    <p:sldId id="403" r:id="rId27"/>
    <p:sldId id="404" r:id="rId28"/>
    <p:sldId id="405" r:id="rId29"/>
    <p:sldId id="406" r:id="rId30"/>
    <p:sldId id="407"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AFCF16-D5C8-4B3E-92F4-E67081E7110A}" v="1" dt="2025-05-15T16:50:04.0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6" autoAdjust="0"/>
    <p:restoredTop sz="94660"/>
  </p:normalViewPr>
  <p:slideViewPr>
    <p:cSldViewPr snapToGrid="0">
      <p:cViewPr varScale="1">
        <p:scale>
          <a:sx n="64" d="100"/>
          <a:sy n="64" d="100"/>
        </p:scale>
        <p:origin x="96" y="11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gs" Target="tags/tag1.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E58908-CE06-4F4D-AAE3-C1303FE6385B}" type="doc">
      <dgm:prSet loTypeId="urn:microsoft.com/office/officeart/2008/layout/LinedList" loCatId="list" qsTypeId="urn:microsoft.com/office/officeart/2005/8/quickstyle/simple5" qsCatId="simple" csTypeId="urn:microsoft.com/office/officeart/2005/8/colors/accent5_2" csCatId="accent5" phldr="1"/>
      <dgm:spPr/>
      <dgm:t>
        <a:bodyPr/>
        <a:lstStyle/>
        <a:p>
          <a:endParaRPr lang="en-US"/>
        </a:p>
      </dgm:t>
    </dgm:pt>
    <dgm:pt modelId="{FC725057-3E81-4F0C-A0B5-7E6E313CC188}">
      <dgm:prSet/>
      <dgm:spPr/>
      <dgm:t>
        <a:bodyPr/>
        <a:lstStyle/>
        <a:p>
          <a:r>
            <a:rPr lang="en-US" b="0" i="0" baseline="0" dirty="0"/>
            <a:t>Improve the performance for customers and partners accessing the </a:t>
          </a:r>
          <a:r>
            <a:rPr lang="en-US" b="0" i="0" baseline="0" dirty="0" err="1"/>
            <a:t>Fastcar</a:t>
          </a:r>
          <a:r>
            <a:rPr lang="en-US" b="0" i="0" baseline="0" dirty="0"/>
            <a:t> Racing Inc. websites around the world</a:t>
          </a:r>
          <a:endParaRPr lang="en-US" dirty="0"/>
        </a:p>
      </dgm:t>
    </dgm:pt>
    <dgm:pt modelId="{3B0A024C-9E81-4C7D-9B30-337996DD7269}" type="parTrans" cxnId="{1CF7220F-7233-47CA-8CE4-7850D8512FB6}">
      <dgm:prSet/>
      <dgm:spPr/>
      <dgm:t>
        <a:bodyPr/>
        <a:lstStyle/>
        <a:p>
          <a:endParaRPr lang="en-US"/>
        </a:p>
      </dgm:t>
    </dgm:pt>
    <dgm:pt modelId="{66072B3D-0CE2-45BB-8212-CBAA53DDC9F0}" type="sibTrans" cxnId="{1CF7220F-7233-47CA-8CE4-7850D8512FB6}">
      <dgm:prSet/>
      <dgm:spPr/>
      <dgm:t>
        <a:bodyPr/>
        <a:lstStyle/>
        <a:p>
          <a:endParaRPr lang="en-US"/>
        </a:p>
      </dgm:t>
    </dgm:pt>
    <dgm:pt modelId="{2CF61746-D35C-4E5E-9790-A0BEDE39D372}">
      <dgm:prSet/>
      <dgm:spPr/>
      <dgm:t>
        <a:bodyPr/>
        <a:lstStyle/>
        <a:p>
          <a:r>
            <a:rPr lang="en-US" b="0" i="0" baseline="0"/>
            <a:t>Support for easily provisioning resources to meet bursts of demand</a:t>
          </a:r>
          <a:endParaRPr lang="en-US"/>
        </a:p>
      </dgm:t>
    </dgm:pt>
    <dgm:pt modelId="{2563517C-7F5A-4DA1-91CD-506137B10608}" type="parTrans" cxnId="{A1005EAE-6B89-4522-88CB-877F4B371AC1}">
      <dgm:prSet/>
      <dgm:spPr/>
      <dgm:t>
        <a:bodyPr/>
        <a:lstStyle/>
        <a:p>
          <a:endParaRPr lang="en-US"/>
        </a:p>
      </dgm:t>
    </dgm:pt>
    <dgm:pt modelId="{11DB2051-8BB3-4DE0-B41A-7CE0CDF209E2}" type="sibTrans" cxnId="{A1005EAE-6B89-4522-88CB-877F4B371AC1}">
      <dgm:prSet/>
      <dgm:spPr/>
      <dgm:t>
        <a:bodyPr/>
        <a:lstStyle/>
        <a:p>
          <a:endParaRPr lang="en-US"/>
        </a:p>
      </dgm:t>
    </dgm:pt>
    <dgm:pt modelId="{B6089ACD-9A29-4F86-9F53-E89A525FB028}">
      <dgm:prSet/>
      <dgm:spPr/>
      <dgm:t>
        <a:bodyPr/>
        <a:lstStyle/>
        <a:p>
          <a:r>
            <a:rPr lang="en-US" b="0" i="0" baseline="0"/>
            <a:t>Consolidate and improve the utilization of website and database hosting resources  </a:t>
          </a:r>
          <a:endParaRPr lang="en-US"/>
        </a:p>
      </dgm:t>
    </dgm:pt>
    <dgm:pt modelId="{FA7AA817-0917-4146-92B5-E71E8D529BAA}" type="parTrans" cxnId="{B2B4012A-89A5-4A22-A6D1-AEDDA87E110F}">
      <dgm:prSet/>
      <dgm:spPr/>
      <dgm:t>
        <a:bodyPr/>
        <a:lstStyle/>
        <a:p>
          <a:endParaRPr lang="en-US"/>
        </a:p>
      </dgm:t>
    </dgm:pt>
    <dgm:pt modelId="{A1A685F4-F837-45E0-87B8-3A755369C9DD}" type="sibTrans" cxnId="{B2B4012A-89A5-4A22-A6D1-AEDDA87E110F}">
      <dgm:prSet/>
      <dgm:spPr/>
      <dgm:t>
        <a:bodyPr/>
        <a:lstStyle/>
        <a:p>
          <a:endParaRPr lang="en-US"/>
        </a:p>
      </dgm:t>
    </dgm:pt>
    <dgm:pt modelId="{3402AAB6-4143-4074-869E-B2ABC52697BC}">
      <dgm:prSet/>
      <dgm:spPr/>
      <dgm:t>
        <a:bodyPr/>
        <a:lstStyle/>
        <a:p>
          <a:r>
            <a:rPr lang="en-US" b="0" i="0" baseline="0"/>
            <a:t>For their most demanding databases, they want to migrate without having to re-architect their database structure or make large changes the application</a:t>
          </a:r>
          <a:endParaRPr lang="en-US"/>
        </a:p>
      </dgm:t>
    </dgm:pt>
    <dgm:pt modelId="{3D9E4DF3-4205-4AF2-B211-BF5E761A1821}" type="parTrans" cxnId="{44F4D83F-B0EF-4D23-9E2A-BA9FF2C6D120}">
      <dgm:prSet/>
      <dgm:spPr/>
      <dgm:t>
        <a:bodyPr/>
        <a:lstStyle/>
        <a:p>
          <a:endParaRPr lang="en-US"/>
        </a:p>
      </dgm:t>
    </dgm:pt>
    <dgm:pt modelId="{E6E654B1-29B4-405E-8CFD-7665DF26937C}" type="sibTrans" cxnId="{44F4D83F-B0EF-4D23-9E2A-BA9FF2C6D120}">
      <dgm:prSet/>
      <dgm:spPr/>
      <dgm:t>
        <a:bodyPr/>
        <a:lstStyle/>
        <a:p>
          <a:endParaRPr lang="en-US"/>
        </a:p>
      </dgm:t>
    </dgm:pt>
    <dgm:pt modelId="{EEC0CAF1-AB7E-4F4E-9AAC-267118B52062}">
      <dgm:prSet/>
      <dgm:spPr/>
      <dgm:t>
        <a:bodyPr/>
        <a:lstStyle/>
        <a:p>
          <a:r>
            <a:rPr lang="en-US" b="0" i="0" baseline="0" dirty="0"/>
            <a:t>Avoid downtime, particularly caused by web and database server patching</a:t>
          </a:r>
          <a:endParaRPr lang="en-US" dirty="0"/>
        </a:p>
      </dgm:t>
    </dgm:pt>
    <dgm:pt modelId="{8722E300-F940-4B4B-93B4-3A0FCB3F2174}" type="parTrans" cxnId="{C8E33AE9-2965-4FB7-AF77-2E9618A6184A}">
      <dgm:prSet/>
      <dgm:spPr/>
      <dgm:t>
        <a:bodyPr/>
        <a:lstStyle/>
        <a:p>
          <a:endParaRPr lang="en-US"/>
        </a:p>
      </dgm:t>
    </dgm:pt>
    <dgm:pt modelId="{46EEED00-3837-4E9E-85EB-EB18282486A6}" type="sibTrans" cxnId="{C8E33AE9-2965-4FB7-AF77-2E9618A6184A}">
      <dgm:prSet/>
      <dgm:spPr/>
      <dgm:t>
        <a:bodyPr/>
        <a:lstStyle/>
        <a:p>
          <a:endParaRPr lang="en-US"/>
        </a:p>
      </dgm:t>
    </dgm:pt>
    <dgm:pt modelId="{D17B0AF4-90D7-4CE7-90BA-812216CBA834}">
      <dgm:prSet/>
      <dgm:spPr/>
      <dgm:t>
        <a:bodyPr/>
        <a:lstStyle/>
        <a:p>
          <a:r>
            <a:rPr lang="en-US" b="0" i="0" baseline="0"/>
            <a:t>Leverage familiarity with Microsoft tools</a:t>
          </a:r>
          <a:endParaRPr lang="en-US"/>
        </a:p>
      </dgm:t>
    </dgm:pt>
    <dgm:pt modelId="{48D0D83A-7398-4318-8415-D9C6A2BEFA84}" type="parTrans" cxnId="{A65FD770-F6A7-4F2B-86C3-44336CA92798}">
      <dgm:prSet/>
      <dgm:spPr/>
      <dgm:t>
        <a:bodyPr/>
        <a:lstStyle/>
        <a:p>
          <a:endParaRPr lang="en-US"/>
        </a:p>
      </dgm:t>
    </dgm:pt>
    <dgm:pt modelId="{E630A44A-765A-4BFC-807B-21D92FFF4861}" type="sibTrans" cxnId="{A65FD770-F6A7-4F2B-86C3-44336CA92798}">
      <dgm:prSet/>
      <dgm:spPr/>
      <dgm:t>
        <a:bodyPr/>
        <a:lstStyle/>
        <a:p>
          <a:endParaRPr lang="en-US"/>
        </a:p>
      </dgm:t>
    </dgm:pt>
    <dgm:pt modelId="{875DC440-C1B6-41C3-A4A9-1A17F487B055}" type="pres">
      <dgm:prSet presAssocID="{4AE58908-CE06-4F4D-AAE3-C1303FE6385B}" presName="vert0" presStyleCnt="0">
        <dgm:presLayoutVars>
          <dgm:dir/>
          <dgm:animOne val="branch"/>
          <dgm:animLvl val="lvl"/>
        </dgm:presLayoutVars>
      </dgm:prSet>
      <dgm:spPr/>
    </dgm:pt>
    <dgm:pt modelId="{2BE22B1E-30E5-44A6-A8ED-9D4A53339A2C}" type="pres">
      <dgm:prSet presAssocID="{FC725057-3E81-4F0C-A0B5-7E6E313CC188}" presName="thickLine" presStyleLbl="alignNode1" presStyleIdx="0" presStyleCnt="6"/>
      <dgm:spPr/>
    </dgm:pt>
    <dgm:pt modelId="{AE342D76-7F9F-43C1-ABB4-366C61F90662}" type="pres">
      <dgm:prSet presAssocID="{FC725057-3E81-4F0C-A0B5-7E6E313CC188}" presName="horz1" presStyleCnt="0"/>
      <dgm:spPr/>
    </dgm:pt>
    <dgm:pt modelId="{906BF938-7D50-46C2-AB43-50BE671DEB4C}" type="pres">
      <dgm:prSet presAssocID="{FC725057-3E81-4F0C-A0B5-7E6E313CC188}" presName="tx1" presStyleLbl="revTx" presStyleIdx="0" presStyleCnt="6"/>
      <dgm:spPr/>
    </dgm:pt>
    <dgm:pt modelId="{B4CD7223-B00D-4953-858E-A68FDFCD3F35}" type="pres">
      <dgm:prSet presAssocID="{FC725057-3E81-4F0C-A0B5-7E6E313CC188}" presName="vert1" presStyleCnt="0"/>
      <dgm:spPr/>
    </dgm:pt>
    <dgm:pt modelId="{F0CC488C-2709-45BC-9625-8BC73D0BBBE2}" type="pres">
      <dgm:prSet presAssocID="{2CF61746-D35C-4E5E-9790-A0BEDE39D372}" presName="thickLine" presStyleLbl="alignNode1" presStyleIdx="1" presStyleCnt="6"/>
      <dgm:spPr/>
    </dgm:pt>
    <dgm:pt modelId="{34E7A6BE-976A-43E9-9606-645F850466B6}" type="pres">
      <dgm:prSet presAssocID="{2CF61746-D35C-4E5E-9790-A0BEDE39D372}" presName="horz1" presStyleCnt="0"/>
      <dgm:spPr/>
    </dgm:pt>
    <dgm:pt modelId="{FC03672B-8F49-4224-A928-C6953BC27EB0}" type="pres">
      <dgm:prSet presAssocID="{2CF61746-D35C-4E5E-9790-A0BEDE39D372}" presName="tx1" presStyleLbl="revTx" presStyleIdx="1" presStyleCnt="6"/>
      <dgm:spPr/>
    </dgm:pt>
    <dgm:pt modelId="{9755DC08-E56E-486F-8ECA-0C9445370232}" type="pres">
      <dgm:prSet presAssocID="{2CF61746-D35C-4E5E-9790-A0BEDE39D372}" presName="vert1" presStyleCnt="0"/>
      <dgm:spPr/>
    </dgm:pt>
    <dgm:pt modelId="{B9F21236-41A9-4517-8438-E7BE35B8A3F5}" type="pres">
      <dgm:prSet presAssocID="{B6089ACD-9A29-4F86-9F53-E89A525FB028}" presName="thickLine" presStyleLbl="alignNode1" presStyleIdx="2" presStyleCnt="6"/>
      <dgm:spPr/>
    </dgm:pt>
    <dgm:pt modelId="{E51468B4-DAB7-433F-B510-00223AD3C7C7}" type="pres">
      <dgm:prSet presAssocID="{B6089ACD-9A29-4F86-9F53-E89A525FB028}" presName="horz1" presStyleCnt="0"/>
      <dgm:spPr/>
    </dgm:pt>
    <dgm:pt modelId="{5819BFFA-7F30-4242-A22A-5E62DEA21C70}" type="pres">
      <dgm:prSet presAssocID="{B6089ACD-9A29-4F86-9F53-E89A525FB028}" presName="tx1" presStyleLbl="revTx" presStyleIdx="2" presStyleCnt="6"/>
      <dgm:spPr/>
    </dgm:pt>
    <dgm:pt modelId="{A7E6B314-62C2-4951-9758-1C7CB529E3EB}" type="pres">
      <dgm:prSet presAssocID="{B6089ACD-9A29-4F86-9F53-E89A525FB028}" presName="vert1" presStyleCnt="0"/>
      <dgm:spPr/>
    </dgm:pt>
    <dgm:pt modelId="{D9EBEED3-3AB6-453A-8A37-956A51BA921A}" type="pres">
      <dgm:prSet presAssocID="{3402AAB6-4143-4074-869E-B2ABC52697BC}" presName="thickLine" presStyleLbl="alignNode1" presStyleIdx="3" presStyleCnt="6"/>
      <dgm:spPr/>
    </dgm:pt>
    <dgm:pt modelId="{50FF5714-E379-4C09-813F-8D940FEBFF77}" type="pres">
      <dgm:prSet presAssocID="{3402AAB6-4143-4074-869E-B2ABC52697BC}" presName="horz1" presStyleCnt="0"/>
      <dgm:spPr/>
    </dgm:pt>
    <dgm:pt modelId="{7649B3E4-BAFE-4AA7-817C-397FA673C53B}" type="pres">
      <dgm:prSet presAssocID="{3402AAB6-4143-4074-869E-B2ABC52697BC}" presName="tx1" presStyleLbl="revTx" presStyleIdx="3" presStyleCnt="6"/>
      <dgm:spPr/>
    </dgm:pt>
    <dgm:pt modelId="{99413398-0A47-42FD-B126-22A79D73526E}" type="pres">
      <dgm:prSet presAssocID="{3402AAB6-4143-4074-869E-B2ABC52697BC}" presName="vert1" presStyleCnt="0"/>
      <dgm:spPr/>
    </dgm:pt>
    <dgm:pt modelId="{3164741E-8836-4B8D-B90B-60BB76A8CA45}" type="pres">
      <dgm:prSet presAssocID="{EEC0CAF1-AB7E-4F4E-9AAC-267118B52062}" presName="thickLine" presStyleLbl="alignNode1" presStyleIdx="4" presStyleCnt="6"/>
      <dgm:spPr/>
    </dgm:pt>
    <dgm:pt modelId="{FEFED461-FAE7-4DF2-AA87-C52F1A5C4BE2}" type="pres">
      <dgm:prSet presAssocID="{EEC0CAF1-AB7E-4F4E-9AAC-267118B52062}" presName="horz1" presStyleCnt="0"/>
      <dgm:spPr/>
    </dgm:pt>
    <dgm:pt modelId="{EFE2825B-C496-470A-B0CC-75DE04B4517A}" type="pres">
      <dgm:prSet presAssocID="{EEC0CAF1-AB7E-4F4E-9AAC-267118B52062}" presName="tx1" presStyleLbl="revTx" presStyleIdx="4" presStyleCnt="6"/>
      <dgm:spPr/>
    </dgm:pt>
    <dgm:pt modelId="{3237C1AE-AB0C-4079-A6DD-EDCCFC0FA0F9}" type="pres">
      <dgm:prSet presAssocID="{EEC0CAF1-AB7E-4F4E-9AAC-267118B52062}" presName="vert1" presStyleCnt="0"/>
      <dgm:spPr/>
    </dgm:pt>
    <dgm:pt modelId="{62F21943-E310-4ECC-A9C6-86916F7BAF74}" type="pres">
      <dgm:prSet presAssocID="{D17B0AF4-90D7-4CE7-90BA-812216CBA834}" presName="thickLine" presStyleLbl="alignNode1" presStyleIdx="5" presStyleCnt="6"/>
      <dgm:spPr/>
    </dgm:pt>
    <dgm:pt modelId="{ADC7F472-46C3-4C55-B9CF-3CC70F65EB5C}" type="pres">
      <dgm:prSet presAssocID="{D17B0AF4-90D7-4CE7-90BA-812216CBA834}" presName="horz1" presStyleCnt="0"/>
      <dgm:spPr/>
    </dgm:pt>
    <dgm:pt modelId="{321A1979-4634-4732-B19F-DD07C6A92379}" type="pres">
      <dgm:prSet presAssocID="{D17B0AF4-90D7-4CE7-90BA-812216CBA834}" presName="tx1" presStyleLbl="revTx" presStyleIdx="5" presStyleCnt="6"/>
      <dgm:spPr/>
    </dgm:pt>
    <dgm:pt modelId="{2C2AE82C-3E79-4921-A0A9-7C5EC4040BD7}" type="pres">
      <dgm:prSet presAssocID="{D17B0AF4-90D7-4CE7-90BA-812216CBA834}" presName="vert1" presStyleCnt="0"/>
      <dgm:spPr/>
    </dgm:pt>
  </dgm:ptLst>
  <dgm:cxnLst>
    <dgm:cxn modelId="{1CF7220F-7233-47CA-8CE4-7850D8512FB6}" srcId="{4AE58908-CE06-4F4D-AAE3-C1303FE6385B}" destId="{FC725057-3E81-4F0C-A0B5-7E6E313CC188}" srcOrd="0" destOrd="0" parTransId="{3B0A024C-9E81-4C7D-9B30-337996DD7269}" sibTransId="{66072B3D-0CE2-45BB-8212-CBAA53DDC9F0}"/>
    <dgm:cxn modelId="{B2B4012A-89A5-4A22-A6D1-AEDDA87E110F}" srcId="{4AE58908-CE06-4F4D-AAE3-C1303FE6385B}" destId="{B6089ACD-9A29-4F86-9F53-E89A525FB028}" srcOrd="2" destOrd="0" parTransId="{FA7AA817-0917-4146-92B5-E71E8D529BAA}" sibTransId="{A1A685F4-F837-45E0-87B8-3A755369C9DD}"/>
    <dgm:cxn modelId="{A263A537-9B3E-40FC-8C16-EF00D2839B55}" type="presOf" srcId="{EEC0CAF1-AB7E-4F4E-9AAC-267118B52062}" destId="{EFE2825B-C496-470A-B0CC-75DE04B4517A}" srcOrd="0" destOrd="0" presId="urn:microsoft.com/office/officeart/2008/layout/LinedList"/>
    <dgm:cxn modelId="{44F4D83F-B0EF-4D23-9E2A-BA9FF2C6D120}" srcId="{4AE58908-CE06-4F4D-AAE3-C1303FE6385B}" destId="{3402AAB6-4143-4074-869E-B2ABC52697BC}" srcOrd="3" destOrd="0" parTransId="{3D9E4DF3-4205-4AF2-B211-BF5E761A1821}" sibTransId="{E6E654B1-29B4-405E-8CFD-7665DF26937C}"/>
    <dgm:cxn modelId="{16681366-CA04-431A-9996-FEA1854CB589}" type="presOf" srcId="{2CF61746-D35C-4E5E-9790-A0BEDE39D372}" destId="{FC03672B-8F49-4224-A928-C6953BC27EB0}" srcOrd="0" destOrd="0" presId="urn:microsoft.com/office/officeart/2008/layout/LinedList"/>
    <dgm:cxn modelId="{A65FD770-F6A7-4F2B-86C3-44336CA92798}" srcId="{4AE58908-CE06-4F4D-AAE3-C1303FE6385B}" destId="{D17B0AF4-90D7-4CE7-90BA-812216CBA834}" srcOrd="5" destOrd="0" parTransId="{48D0D83A-7398-4318-8415-D9C6A2BEFA84}" sibTransId="{E630A44A-765A-4BFC-807B-21D92FFF4861}"/>
    <dgm:cxn modelId="{78BB5F80-672C-4489-9FD0-0106FCAB0F33}" type="presOf" srcId="{B6089ACD-9A29-4F86-9F53-E89A525FB028}" destId="{5819BFFA-7F30-4242-A22A-5E62DEA21C70}" srcOrd="0" destOrd="0" presId="urn:microsoft.com/office/officeart/2008/layout/LinedList"/>
    <dgm:cxn modelId="{F8F2FD82-EF72-47AA-AD77-AF8D6B2D9C11}" type="presOf" srcId="{D17B0AF4-90D7-4CE7-90BA-812216CBA834}" destId="{321A1979-4634-4732-B19F-DD07C6A92379}" srcOrd="0" destOrd="0" presId="urn:microsoft.com/office/officeart/2008/layout/LinedList"/>
    <dgm:cxn modelId="{49AE60AB-53CE-4CD1-8245-214389A4D8A1}" type="presOf" srcId="{4AE58908-CE06-4F4D-AAE3-C1303FE6385B}" destId="{875DC440-C1B6-41C3-A4A9-1A17F487B055}" srcOrd="0" destOrd="0" presId="urn:microsoft.com/office/officeart/2008/layout/LinedList"/>
    <dgm:cxn modelId="{A1005EAE-6B89-4522-88CB-877F4B371AC1}" srcId="{4AE58908-CE06-4F4D-AAE3-C1303FE6385B}" destId="{2CF61746-D35C-4E5E-9790-A0BEDE39D372}" srcOrd="1" destOrd="0" parTransId="{2563517C-7F5A-4DA1-91CD-506137B10608}" sibTransId="{11DB2051-8BB3-4DE0-B41A-7CE0CDF209E2}"/>
    <dgm:cxn modelId="{5E0E51CA-AD95-42FC-B994-396B7E39105F}" type="presOf" srcId="{3402AAB6-4143-4074-869E-B2ABC52697BC}" destId="{7649B3E4-BAFE-4AA7-817C-397FA673C53B}" srcOrd="0" destOrd="0" presId="urn:microsoft.com/office/officeart/2008/layout/LinedList"/>
    <dgm:cxn modelId="{C8E33AE9-2965-4FB7-AF77-2E9618A6184A}" srcId="{4AE58908-CE06-4F4D-AAE3-C1303FE6385B}" destId="{EEC0CAF1-AB7E-4F4E-9AAC-267118B52062}" srcOrd="4" destOrd="0" parTransId="{8722E300-F940-4B4B-93B4-3A0FCB3F2174}" sibTransId="{46EEED00-3837-4E9E-85EB-EB18282486A6}"/>
    <dgm:cxn modelId="{DC5D41EE-BBB7-4177-A280-FF2F8DEA5EC1}" type="presOf" srcId="{FC725057-3E81-4F0C-A0B5-7E6E313CC188}" destId="{906BF938-7D50-46C2-AB43-50BE671DEB4C}" srcOrd="0" destOrd="0" presId="urn:microsoft.com/office/officeart/2008/layout/LinedList"/>
    <dgm:cxn modelId="{FCB0C4A6-F49D-4E21-9164-E8B924143E2C}" type="presParOf" srcId="{875DC440-C1B6-41C3-A4A9-1A17F487B055}" destId="{2BE22B1E-30E5-44A6-A8ED-9D4A53339A2C}" srcOrd="0" destOrd="0" presId="urn:microsoft.com/office/officeart/2008/layout/LinedList"/>
    <dgm:cxn modelId="{72618977-3058-4441-8FE5-7064BAADA75C}" type="presParOf" srcId="{875DC440-C1B6-41C3-A4A9-1A17F487B055}" destId="{AE342D76-7F9F-43C1-ABB4-366C61F90662}" srcOrd="1" destOrd="0" presId="urn:microsoft.com/office/officeart/2008/layout/LinedList"/>
    <dgm:cxn modelId="{0E751567-F531-440C-8B77-6538D76EE0A3}" type="presParOf" srcId="{AE342D76-7F9F-43C1-ABB4-366C61F90662}" destId="{906BF938-7D50-46C2-AB43-50BE671DEB4C}" srcOrd="0" destOrd="0" presId="urn:microsoft.com/office/officeart/2008/layout/LinedList"/>
    <dgm:cxn modelId="{9DACF348-8B9F-478E-ACD7-A88855E4E45C}" type="presParOf" srcId="{AE342D76-7F9F-43C1-ABB4-366C61F90662}" destId="{B4CD7223-B00D-4953-858E-A68FDFCD3F35}" srcOrd="1" destOrd="0" presId="urn:microsoft.com/office/officeart/2008/layout/LinedList"/>
    <dgm:cxn modelId="{97109A4A-38D8-4921-B8C2-E3A2955776B7}" type="presParOf" srcId="{875DC440-C1B6-41C3-A4A9-1A17F487B055}" destId="{F0CC488C-2709-45BC-9625-8BC73D0BBBE2}" srcOrd="2" destOrd="0" presId="urn:microsoft.com/office/officeart/2008/layout/LinedList"/>
    <dgm:cxn modelId="{138B7BE7-26BF-4D5A-86C5-FC6555CCADCC}" type="presParOf" srcId="{875DC440-C1B6-41C3-A4A9-1A17F487B055}" destId="{34E7A6BE-976A-43E9-9606-645F850466B6}" srcOrd="3" destOrd="0" presId="urn:microsoft.com/office/officeart/2008/layout/LinedList"/>
    <dgm:cxn modelId="{F1D5DFBE-9C9D-40A9-A32C-CAFF80D68511}" type="presParOf" srcId="{34E7A6BE-976A-43E9-9606-645F850466B6}" destId="{FC03672B-8F49-4224-A928-C6953BC27EB0}" srcOrd="0" destOrd="0" presId="urn:microsoft.com/office/officeart/2008/layout/LinedList"/>
    <dgm:cxn modelId="{4FACE6D2-AAEE-45B8-8499-4A99DF66329C}" type="presParOf" srcId="{34E7A6BE-976A-43E9-9606-645F850466B6}" destId="{9755DC08-E56E-486F-8ECA-0C9445370232}" srcOrd="1" destOrd="0" presId="urn:microsoft.com/office/officeart/2008/layout/LinedList"/>
    <dgm:cxn modelId="{813720CF-8376-405D-AB0B-42F43B9863BD}" type="presParOf" srcId="{875DC440-C1B6-41C3-A4A9-1A17F487B055}" destId="{B9F21236-41A9-4517-8438-E7BE35B8A3F5}" srcOrd="4" destOrd="0" presId="urn:microsoft.com/office/officeart/2008/layout/LinedList"/>
    <dgm:cxn modelId="{5EF5FE45-7263-4470-A8AD-6D7F1DE8A080}" type="presParOf" srcId="{875DC440-C1B6-41C3-A4A9-1A17F487B055}" destId="{E51468B4-DAB7-433F-B510-00223AD3C7C7}" srcOrd="5" destOrd="0" presId="urn:microsoft.com/office/officeart/2008/layout/LinedList"/>
    <dgm:cxn modelId="{F9758265-3318-4384-B38E-9AA07457AD1D}" type="presParOf" srcId="{E51468B4-DAB7-433F-B510-00223AD3C7C7}" destId="{5819BFFA-7F30-4242-A22A-5E62DEA21C70}" srcOrd="0" destOrd="0" presId="urn:microsoft.com/office/officeart/2008/layout/LinedList"/>
    <dgm:cxn modelId="{8612A6B7-0379-4239-9273-29D9187594F3}" type="presParOf" srcId="{E51468B4-DAB7-433F-B510-00223AD3C7C7}" destId="{A7E6B314-62C2-4951-9758-1C7CB529E3EB}" srcOrd="1" destOrd="0" presId="urn:microsoft.com/office/officeart/2008/layout/LinedList"/>
    <dgm:cxn modelId="{09F4114C-566E-4E1D-A29E-3E5BD6041549}" type="presParOf" srcId="{875DC440-C1B6-41C3-A4A9-1A17F487B055}" destId="{D9EBEED3-3AB6-453A-8A37-956A51BA921A}" srcOrd="6" destOrd="0" presId="urn:microsoft.com/office/officeart/2008/layout/LinedList"/>
    <dgm:cxn modelId="{1810BFEF-09B9-43A6-BB33-8CBC47859983}" type="presParOf" srcId="{875DC440-C1B6-41C3-A4A9-1A17F487B055}" destId="{50FF5714-E379-4C09-813F-8D940FEBFF77}" srcOrd="7" destOrd="0" presId="urn:microsoft.com/office/officeart/2008/layout/LinedList"/>
    <dgm:cxn modelId="{446CAD8A-3D3C-4D50-A92D-59949DD99980}" type="presParOf" srcId="{50FF5714-E379-4C09-813F-8D940FEBFF77}" destId="{7649B3E4-BAFE-4AA7-817C-397FA673C53B}" srcOrd="0" destOrd="0" presId="urn:microsoft.com/office/officeart/2008/layout/LinedList"/>
    <dgm:cxn modelId="{71D67E60-ADB6-4D0D-A209-BBA826D78B43}" type="presParOf" srcId="{50FF5714-E379-4C09-813F-8D940FEBFF77}" destId="{99413398-0A47-42FD-B126-22A79D73526E}" srcOrd="1" destOrd="0" presId="urn:microsoft.com/office/officeart/2008/layout/LinedList"/>
    <dgm:cxn modelId="{F3BEA65F-C018-4BFD-8B89-76A5CC22D609}" type="presParOf" srcId="{875DC440-C1B6-41C3-A4A9-1A17F487B055}" destId="{3164741E-8836-4B8D-B90B-60BB76A8CA45}" srcOrd="8" destOrd="0" presId="urn:microsoft.com/office/officeart/2008/layout/LinedList"/>
    <dgm:cxn modelId="{CC5513CE-CD80-4D79-8E52-58275AC33FE1}" type="presParOf" srcId="{875DC440-C1B6-41C3-A4A9-1A17F487B055}" destId="{FEFED461-FAE7-4DF2-AA87-C52F1A5C4BE2}" srcOrd="9" destOrd="0" presId="urn:microsoft.com/office/officeart/2008/layout/LinedList"/>
    <dgm:cxn modelId="{F86986FB-9E7B-4846-B141-8AFED091FE9B}" type="presParOf" srcId="{FEFED461-FAE7-4DF2-AA87-C52F1A5C4BE2}" destId="{EFE2825B-C496-470A-B0CC-75DE04B4517A}" srcOrd="0" destOrd="0" presId="urn:microsoft.com/office/officeart/2008/layout/LinedList"/>
    <dgm:cxn modelId="{D3B7294C-B3E7-4CD7-87E3-7C5206AF3637}" type="presParOf" srcId="{FEFED461-FAE7-4DF2-AA87-C52F1A5C4BE2}" destId="{3237C1AE-AB0C-4079-A6DD-EDCCFC0FA0F9}" srcOrd="1" destOrd="0" presId="urn:microsoft.com/office/officeart/2008/layout/LinedList"/>
    <dgm:cxn modelId="{F85B4F6B-B0B5-478F-8A5B-BE37D3B428A6}" type="presParOf" srcId="{875DC440-C1B6-41C3-A4A9-1A17F487B055}" destId="{62F21943-E310-4ECC-A9C6-86916F7BAF74}" srcOrd="10" destOrd="0" presId="urn:microsoft.com/office/officeart/2008/layout/LinedList"/>
    <dgm:cxn modelId="{35694469-4EB1-4050-94E4-24E450F2256E}" type="presParOf" srcId="{875DC440-C1B6-41C3-A4A9-1A17F487B055}" destId="{ADC7F472-46C3-4C55-B9CF-3CC70F65EB5C}" srcOrd="11" destOrd="0" presId="urn:microsoft.com/office/officeart/2008/layout/LinedList"/>
    <dgm:cxn modelId="{A47C272E-A1C5-4B0B-AFC3-2F17EA93B2DA}" type="presParOf" srcId="{ADC7F472-46C3-4C55-B9CF-3CC70F65EB5C}" destId="{321A1979-4634-4732-B19F-DD07C6A92379}" srcOrd="0" destOrd="0" presId="urn:microsoft.com/office/officeart/2008/layout/LinedList"/>
    <dgm:cxn modelId="{099EB0DA-8F6F-4833-8C30-94DE6857BBE5}" type="presParOf" srcId="{ADC7F472-46C3-4C55-B9CF-3CC70F65EB5C}" destId="{2C2AE82C-3E79-4921-A0A9-7C5EC4040BD7}"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6FFBA3-9E4B-4D14-A9A2-C83E333CF336}" type="doc">
      <dgm:prSet loTypeId="urn:microsoft.com/office/officeart/2016/7/layout/VerticalHollowActionList" loCatId="List" qsTypeId="urn:microsoft.com/office/officeart/2005/8/quickstyle/simple2" qsCatId="simple" csTypeId="urn:microsoft.com/office/officeart/2005/8/colors/accent0_3" csCatId="mainScheme"/>
      <dgm:spPr/>
      <dgm:t>
        <a:bodyPr/>
        <a:lstStyle/>
        <a:p>
          <a:endParaRPr lang="en-US"/>
        </a:p>
      </dgm:t>
    </dgm:pt>
    <dgm:pt modelId="{C0246130-88E9-40DF-B15E-2985125236E7}">
      <dgm:prSet/>
      <dgm:spPr/>
      <dgm:t>
        <a:bodyPr/>
        <a:lstStyle/>
        <a:p>
          <a:r>
            <a:rPr lang="en-US" b="0" i="0" baseline="0"/>
            <a:t>Tool Familiarity:</a:t>
          </a:r>
          <a:endParaRPr lang="en-US"/>
        </a:p>
      </dgm:t>
    </dgm:pt>
    <dgm:pt modelId="{135D36EB-75CB-4402-B4DA-B5683F430B25}" type="parTrans" cxnId="{A4C09048-4946-4B16-9981-217A559EC229}">
      <dgm:prSet/>
      <dgm:spPr/>
      <dgm:t>
        <a:bodyPr/>
        <a:lstStyle/>
        <a:p>
          <a:endParaRPr lang="en-US"/>
        </a:p>
      </dgm:t>
    </dgm:pt>
    <dgm:pt modelId="{D8AD631C-6FC9-4541-B8F8-528238D4FD80}" type="sibTrans" cxnId="{A4C09048-4946-4B16-9981-217A559EC229}">
      <dgm:prSet/>
      <dgm:spPr/>
      <dgm:t>
        <a:bodyPr/>
        <a:lstStyle/>
        <a:p>
          <a:endParaRPr lang="en-US"/>
        </a:p>
      </dgm:t>
    </dgm:pt>
    <dgm:pt modelId="{F82D978C-C44E-42AF-A1D3-D084F06FF54A}">
      <dgm:prSet/>
      <dgm:spPr/>
      <dgm:t>
        <a:bodyPr/>
        <a:lstStyle/>
        <a:p>
          <a:r>
            <a:rPr lang="en-US" b="0" i="0" baseline="0"/>
            <a:t>Will we need to learn new tools to develop for Azure Websites and SQL Database?</a:t>
          </a:r>
          <a:endParaRPr lang="en-US"/>
        </a:p>
      </dgm:t>
    </dgm:pt>
    <dgm:pt modelId="{8831165A-8BCD-46BD-A3FB-5636E7E02928}" type="parTrans" cxnId="{45615F77-7FBB-4C49-8A6B-F70FD032ED9D}">
      <dgm:prSet/>
      <dgm:spPr/>
      <dgm:t>
        <a:bodyPr/>
        <a:lstStyle/>
        <a:p>
          <a:endParaRPr lang="en-US"/>
        </a:p>
      </dgm:t>
    </dgm:pt>
    <dgm:pt modelId="{DCD30A18-23A0-4D24-9397-7DFE1D0945FC}" type="sibTrans" cxnId="{45615F77-7FBB-4C49-8A6B-F70FD032ED9D}">
      <dgm:prSet/>
      <dgm:spPr/>
      <dgm:t>
        <a:bodyPr/>
        <a:lstStyle/>
        <a:p>
          <a:endParaRPr lang="en-US"/>
        </a:p>
      </dgm:t>
    </dgm:pt>
    <dgm:pt modelId="{6101A623-CE4A-4880-BB58-FA642A28B501}">
      <dgm:prSet/>
      <dgm:spPr/>
      <dgm:t>
        <a:bodyPr/>
        <a:lstStyle/>
        <a:p>
          <a:r>
            <a:rPr lang="en-US" b="0" i="0" baseline="0"/>
            <a:t>What about diagnosing problems? Are there new tools we need purchase and learn?</a:t>
          </a:r>
          <a:endParaRPr lang="en-US"/>
        </a:p>
      </dgm:t>
    </dgm:pt>
    <dgm:pt modelId="{614BA8AB-11E5-4698-B805-0406827B74C0}" type="parTrans" cxnId="{C5F9DF86-E052-4287-ACEE-0AE8F119ED26}">
      <dgm:prSet/>
      <dgm:spPr/>
      <dgm:t>
        <a:bodyPr/>
        <a:lstStyle/>
        <a:p>
          <a:endParaRPr lang="en-US"/>
        </a:p>
      </dgm:t>
    </dgm:pt>
    <dgm:pt modelId="{950B373C-1EA6-4853-A044-0228672225F8}" type="sibTrans" cxnId="{C5F9DF86-E052-4287-ACEE-0AE8F119ED26}">
      <dgm:prSet/>
      <dgm:spPr/>
      <dgm:t>
        <a:bodyPr/>
        <a:lstStyle/>
        <a:p>
          <a:endParaRPr lang="en-US"/>
        </a:p>
      </dgm:t>
    </dgm:pt>
    <dgm:pt modelId="{4D138C8F-BF97-44E7-9AB4-FE71648A6A7C}">
      <dgm:prSet/>
      <dgm:spPr/>
      <dgm:t>
        <a:bodyPr/>
        <a:lstStyle/>
        <a:p>
          <a:r>
            <a:rPr lang="en-US" b="0" i="0" baseline="0"/>
            <a:t>Connectivity:</a:t>
          </a:r>
          <a:endParaRPr lang="en-US"/>
        </a:p>
      </dgm:t>
    </dgm:pt>
    <dgm:pt modelId="{E2A23D74-069C-4317-9A07-508EDB44A13A}" type="parTrans" cxnId="{B94B68B8-E69E-4446-9D6B-67FDDB4BC43E}">
      <dgm:prSet/>
      <dgm:spPr/>
      <dgm:t>
        <a:bodyPr/>
        <a:lstStyle/>
        <a:p>
          <a:endParaRPr lang="en-US"/>
        </a:p>
      </dgm:t>
    </dgm:pt>
    <dgm:pt modelId="{45898CFE-7289-4E4B-BAB8-A5832D239DEA}" type="sibTrans" cxnId="{B94B68B8-E69E-4446-9D6B-67FDDB4BC43E}">
      <dgm:prSet/>
      <dgm:spPr/>
      <dgm:t>
        <a:bodyPr/>
        <a:lstStyle/>
        <a:p>
          <a:endParaRPr lang="en-US"/>
        </a:p>
      </dgm:t>
    </dgm:pt>
    <dgm:pt modelId="{3EF78A25-96A8-4856-ADB1-EFC0442248BD}">
      <dgm:prSet/>
      <dgm:spPr/>
      <dgm:t>
        <a:bodyPr/>
        <a:lstStyle/>
        <a:p>
          <a:r>
            <a:rPr lang="en-US" b="0" i="0" baseline="0"/>
            <a:t>Some of our enterprise web services need to access data and other services located on-premises, is this supported?</a:t>
          </a:r>
          <a:endParaRPr lang="en-US"/>
        </a:p>
      </dgm:t>
    </dgm:pt>
    <dgm:pt modelId="{8F4281B2-2884-4698-9257-605597CF7839}" type="parTrans" cxnId="{E187ABDA-69C1-4EA0-9282-EA0166EE093A}">
      <dgm:prSet/>
      <dgm:spPr/>
      <dgm:t>
        <a:bodyPr/>
        <a:lstStyle/>
        <a:p>
          <a:endParaRPr lang="en-US"/>
        </a:p>
      </dgm:t>
    </dgm:pt>
    <dgm:pt modelId="{B8EF057A-08C5-47D6-9456-DD20A960B176}" type="sibTrans" cxnId="{E187ABDA-69C1-4EA0-9282-EA0166EE093A}">
      <dgm:prSet/>
      <dgm:spPr/>
      <dgm:t>
        <a:bodyPr/>
        <a:lstStyle/>
        <a:p>
          <a:endParaRPr lang="en-US"/>
        </a:p>
      </dgm:t>
    </dgm:pt>
    <dgm:pt modelId="{848D320E-BD7C-469A-9D10-BC164B14C884}">
      <dgm:prSet/>
      <dgm:spPr/>
      <dgm:t>
        <a:bodyPr/>
        <a:lstStyle/>
        <a:p>
          <a:r>
            <a:rPr lang="en-US" b="0" i="0" baseline="0"/>
            <a:t>How can we ensure we are delivering the lowest latency possible to our website visitors?</a:t>
          </a:r>
          <a:endParaRPr lang="en-US"/>
        </a:p>
      </dgm:t>
    </dgm:pt>
    <dgm:pt modelId="{318EB6DF-2B61-449B-A624-45B87F885630}" type="parTrans" cxnId="{822A368E-1EEC-480D-91E5-C9D98786D549}">
      <dgm:prSet/>
      <dgm:spPr/>
      <dgm:t>
        <a:bodyPr/>
        <a:lstStyle/>
        <a:p>
          <a:endParaRPr lang="en-US"/>
        </a:p>
      </dgm:t>
    </dgm:pt>
    <dgm:pt modelId="{87F48C94-4D88-4DD2-99C5-A515F78725D6}" type="sibTrans" cxnId="{822A368E-1EEC-480D-91E5-C9D98786D549}">
      <dgm:prSet/>
      <dgm:spPr/>
      <dgm:t>
        <a:bodyPr/>
        <a:lstStyle/>
        <a:p>
          <a:endParaRPr lang="en-US"/>
        </a:p>
      </dgm:t>
    </dgm:pt>
    <dgm:pt modelId="{C23EBDD8-7D89-4E7A-B5D1-A32C0052A669}">
      <dgm:prSet/>
      <dgm:spPr/>
      <dgm:t>
        <a:bodyPr/>
        <a:lstStyle/>
        <a:p>
          <a:r>
            <a:rPr lang="en-US" b="0" i="0" baseline="0"/>
            <a:t>We need to ensure that if we have multiple web servers backing a given website, that no one web server gets all the traffic</a:t>
          </a:r>
          <a:endParaRPr lang="en-US"/>
        </a:p>
      </dgm:t>
    </dgm:pt>
    <dgm:pt modelId="{32EA1D02-E628-4A7F-8F0B-F73BD08DE4BE}" type="parTrans" cxnId="{2F474098-C42C-4429-8381-5E73D821A128}">
      <dgm:prSet/>
      <dgm:spPr/>
      <dgm:t>
        <a:bodyPr/>
        <a:lstStyle/>
        <a:p>
          <a:endParaRPr lang="en-US"/>
        </a:p>
      </dgm:t>
    </dgm:pt>
    <dgm:pt modelId="{C1E840BE-D301-442B-8099-68AC83D16E58}" type="sibTrans" cxnId="{2F474098-C42C-4429-8381-5E73D821A128}">
      <dgm:prSet/>
      <dgm:spPr/>
      <dgm:t>
        <a:bodyPr/>
        <a:lstStyle/>
        <a:p>
          <a:endParaRPr lang="en-US"/>
        </a:p>
      </dgm:t>
    </dgm:pt>
    <dgm:pt modelId="{81C3A13B-049D-4634-811A-00DF29E21505}" type="pres">
      <dgm:prSet presAssocID="{966FFBA3-9E4B-4D14-A9A2-C83E333CF336}" presName="Name0" presStyleCnt="0">
        <dgm:presLayoutVars>
          <dgm:dir/>
          <dgm:animLvl val="lvl"/>
          <dgm:resizeHandles val="exact"/>
        </dgm:presLayoutVars>
      </dgm:prSet>
      <dgm:spPr/>
    </dgm:pt>
    <dgm:pt modelId="{7034FD2B-EF5D-4824-B8A6-8AA29D28FF49}" type="pres">
      <dgm:prSet presAssocID="{C0246130-88E9-40DF-B15E-2985125236E7}" presName="linNode" presStyleCnt="0"/>
      <dgm:spPr/>
    </dgm:pt>
    <dgm:pt modelId="{6FD4B4DD-DFE2-4ACD-8757-E1ED25E9733C}" type="pres">
      <dgm:prSet presAssocID="{C0246130-88E9-40DF-B15E-2985125236E7}" presName="parentText" presStyleLbl="solidFgAcc1" presStyleIdx="0" presStyleCnt="2">
        <dgm:presLayoutVars>
          <dgm:chMax val="1"/>
          <dgm:bulletEnabled/>
        </dgm:presLayoutVars>
      </dgm:prSet>
      <dgm:spPr/>
    </dgm:pt>
    <dgm:pt modelId="{583DE7E9-9700-4EFE-BB6D-1DA3878D7B54}" type="pres">
      <dgm:prSet presAssocID="{C0246130-88E9-40DF-B15E-2985125236E7}" presName="descendantText" presStyleLbl="alignNode1" presStyleIdx="0" presStyleCnt="2">
        <dgm:presLayoutVars>
          <dgm:bulletEnabled/>
        </dgm:presLayoutVars>
      </dgm:prSet>
      <dgm:spPr/>
    </dgm:pt>
    <dgm:pt modelId="{C68B0501-3B2F-46AA-8D05-DE2446CF4221}" type="pres">
      <dgm:prSet presAssocID="{D8AD631C-6FC9-4541-B8F8-528238D4FD80}" presName="sp" presStyleCnt="0"/>
      <dgm:spPr/>
    </dgm:pt>
    <dgm:pt modelId="{792D52A1-6FB7-4905-9A90-8002BDF1372D}" type="pres">
      <dgm:prSet presAssocID="{4D138C8F-BF97-44E7-9AB4-FE71648A6A7C}" presName="linNode" presStyleCnt="0"/>
      <dgm:spPr/>
    </dgm:pt>
    <dgm:pt modelId="{E141A7EA-FF82-4753-8040-2D6A68752DCC}" type="pres">
      <dgm:prSet presAssocID="{4D138C8F-BF97-44E7-9AB4-FE71648A6A7C}" presName="parentText" presStyleLbl="solidFgAcc1" presStyleIdx="1" presStyleCnt="2">
        <dgm:presLayoutVars>
          <dgm:chMax val="1"/>
          <dgm:bulletEnabled/>
        </dgm:presLayoutVars>
      </dgm:prSet>
      <dgm:spPr/>
    </dgm:pt>
    <dgm:pt modelId="{4C87C104-C95A-4BEA-820D-EC26F87FC277}" type="pres">
      <dgm:prSet presAssocID="{4D138C8F-BF97-44E7-9AB4-FE71648A6A7C}" presName="descendantText" presStyleLbl="alignNode1" presStyleIdx="1" presStyleCnt="2">
        <dgm:presLayoutVars>
          <dgm:bulletEnabled/>
        </dgm:presLayoutVars>
      </dgm:prSet>
      <dgm:spPr/>
    </dgm:pt>
  </dgm:ptLst>
  <dgm:cxnLst>
    <dgm:cxn modelId="{53EAA609-3E65-4983-82AA-E689B796CF8E}" type="presOf" srcId="{3EF78A25-96A8-4856-ADB1-EFC0442248BD}" destId="{4C87C104-C95A-4BEA-820D-EC26F87FC277}" srcOrd="0" destOrd="0" presId="urn:microsoft.com/office/officeart/2016/7/layout/VerticalHollowActionList"/>
    <dgm:cxn modelId="{60746C0F-F7E5-46A2-8AC7-E4C53AD114E7}" type="presOf" srcId="{966FFBA3-9E4B-4D14-A9A2-C83E333CF336}" destId="{81C3A13B-049D-4634-811A-00DF29E21505}" srcOrd="0" destOrd="0" presId="urn:microsoft.com/office/officeart/2016/7/layout/VerticalHollowActionList"/>
    <dgm:cxn modelId="{830A623D-9DF0-4D6C-9D0B-AE7E04A5E391}" type="presOf" srcId="{C23EBDD8-7D89-4E7A-B5D1-A32C0052A669}" destId="{4C87C104-C95A-4BEA-820D-EC26F87FC277}" srcOrd="0" destOrd="2" presId="urn:microsoft.com/office/officeart/2016/7/layout/VerticalHollowActionList"/>
    <dgm:cxn modelId="{A4C09048-4946-4B16-9981-217A559EC229}" srcId="{966FFBA3-9E4B-4D14-A9A2-C83E333CF336}" destId="{C0246130-88E9-40DF-B15E-2985125236E7}" srcOrd="0" destOrd="0" parTransId="{135D36EB-75CB-4402-B4DA-B5683F430B25}" sibTransId="{D8AD631C-6FC9-4541-B8F8-528238D4FD80}"/>
    <dgm:cxn modelId="{45615F77-7FBB-4C49-8A6B-F70FD032ED9D}" srcId="{C0246130-88E9-40DF-B15E-2985125236E7}" destId="{F82D978C-C44E-42AF-A1D3-D084F06FF54A}" srcOrd="0" destOrd="0" parTransId="{8831165A-8BCD-46BD-A3FB-5636E7E02928}" sibTransId="{DCD30A18-23A0-4D24-9397-7DFE1D0945FC}"/>
    <dgm:cxn modelId="{C5F9DF86-E052-4287-ACEE-0AE8F119ED26}" srcId="{C0246130-88E9-40DF-B15E-2985125236E7}" destId="{6101A623-CE4A-4880-BB58-FA642A28B501}" srcOrd="1" destOrd="0" parTransId="{614BA8AB-11E5-4698-B805-0406827B74C0}" sibTransId="{950B373C-1EA6-4853-A044-0228672225F8}"/>
    <dgm:cxn modelId="{BB635C87-C425-4E46-83DC-3378E5A7C65E}" type="presOf" srcId="{F82D978C-C44E-42AF-A1D3-D084F06FF54A}" destId="{583DE7E9-9700-4EFE-BB6D-1DA3878D7B54}" srcOrd="0" destOrd="0" presId="urn:microsoft.com/office/officeart/2016/7/layout/VerticalHollowActionList"/>
    <dgm:cxn modelId="{822A368E-1EEC-480D-91E5-C9D98786D549}" srcId="{4D138C8F-BF97-44E7-9AB4-FE71648A6A7C}" destId="{848D320E-BD7C-469A-9D10-BC164B14C884}" srcOrd="1" destOrd="0" parTransId="{318EB6DF-2B61-449B-A624-45B87F885630}" sibTransId="{87F48C94-4D88-4DD2-99C5-A515F78725D6}"/>
    <dgm:cxn modelId="{2F474098-C42C-4429-8381-5E73D821A128}" srcId="{4D138C8F-BF97-44E7-9AB4-FE71648A6A7C}" destId="{C23EBDD8-7D89-4E7A-B5D1-A32C0052A669}" srcOrd="2" destOrd="0" parTransId="{32EA1D02-E628-4A7F-8F0B-F73BD08DE4BE}" sibTransId="{C1E840BE-D301-442B-8099-68AC83D16E58}"/>
    <dgm:cxn modelId="{B94B68B8-E69E-4446-9D6B-67FDDB4BC43E}" srcId="{966FFBA3-9E4B-4D14-A9A2-C83E333CF336}" destId="{4D138C8F-BF97-44E7-9AB4-FE71648A6A7C}" srcOrd="1" destOrd="0" parTransId="{E2A23D74-069C-4317-9A07-508EDB44A13A}" sibTransId="{45898CFE-7289-4E4B-BAB8-A5832D239DEA}"/>
    <dgm:cxn modelId="{69AF34BA-08F1-4BEF-92E0-B9C3A2380520}" type="presOf" srcId="{4D138C8F-BF97-44E7-9AB4-FE71648A6A7C}" destId="{E141A7EA-FF82-4753-8040-2D6A68752DCC}" srcOrd="0" destOrd="0" presId="urn:microsoft.com/office/officeart/2016/7/layout/VerticalHollowActionList"/>
    <dgm:cxn modelId="{A4ECE2BC-1077-4552-BC1A-7A089BA87F05}" type="presOf" srcId="{C0246130-88E9-40DF-B15E-2985125236E7}" destId="{6FD4B4DD-DFE2-4ACD-8757-E1ED25E9733C}" srcOrd="0" destOrd="0" presId="urn:microsoft.com/office/officeart/2016/7/layout/VerticalHollowActionList"/>
    <dgm:cxn modelId="{6AC83FD6-2D38-481F-933B-A502B12CAD20}" type="presOf" srcId="{6101A623-CE4A-4880-BB58-FA642A28B501}" destId="{583DE7E9-9700-4EFE-BB6D-1DA3878D7B54}" srcOrd="0" destOrd="1" presId="urn:microsoft.com/office/officeart/2016/7/layout/VerticalHollowActionList"/>
    <dgm:cxn modelId="{E187ABDA-69C1-4EA0-9282-EA0166EE093A}" srcId="{4D138C8F-BF97-44E7-9AB4-FE71648A6A7C}" destId="{3EF78A25-96A8-4856-ADB1-EFC0442248BD}" srcOrd="0" destOrd="0" parTransId="{8F4281B2-2884-4698-9257-605597CF7839}" sibTransId="{B8EF057A-08C5-47D6-9456-DD20A960B176}"/>
    <dgm:cxn modelId="{A3F067EF-C08F-4AF9-84D5-7323EE0941DB}" type="presOf" srcId="{848D320E-BD7C-469A-9D10-BC164B14C884}" destId="{4C87C104-C95A-4BEA-820D-EC26F87FC277}" srcOrd="0" destOrd="1" presId="urn:microsoft.com/office/officeart/2016/7/layout/VerticalHollowActionList"/>
    <dgm:cxn modelId="{BB5212FB-6AD6-439D-8D29-E2707CD6EE27}" type="presParOf" srcId="{81C3A13B-049D-4634-811A-00DF29E21505}" destId="{7034FD2B-EF5D-4824-B8A6-8AA29D28FF49}" srcOrd="0" destOrd="0" presId="urn:microsoft.com/office/officeart/2016/7/layout/VerticalHollowActionList"/>
    <dgm:cxn modelId="{47CEFCBA-6C8D-4CB3-985C-1E3F0268FEAA}" type="presParOf" srcId="{7034FD2B-EF5D-4824-B8A6-8AA29D28FF49}" destId="{6FD4B4DD-DFE2-4ACD-8757-E1ED25E9733C}" srcOrd="0" destOrd="0" presId="urn:microsoft.com/office/officeart/2016/7/layout/VerticalHollowActionList"/>
    <dgm:cxn modelId="{30FF206F-7BF9-49CB-97A1-4DD9B1AE3FDC}" type="presParOf" srcId="{7034FD2B-EF5D-4824-B8A6-8AA29D28FF49}" destId="{583DE7E9-9700-4EFE-BB6D-1DA3878D7B54}" srcOrd="1" destOrd="0" presId="urn:microsoft.com/office/officeart/2016/7/layout/VerticalHollowActionList"/>
    <dgm:cxn modelId="{1CC53F83-341B-4E92-8995-A68E65DBF950}" type="presParOf" srcId="{81C3A13B-049D-4634-811A-00DF29E21505}" destId="{C68B0501-3B2F-46AA-8D05-DE2446CF4221}" srcOrd="1" destOrd="0" presId="urn:microsoft.com/office/officeart/2016/7/layout/VerticalHollowActionList"/>
    <dgm:cxn modelId="{29862BA3-F550-4620-9FAD-97A6CC0AEB2E}" type="presParOf" srcId="{81C3A13B-049D-4634-811A-00DF29E21505}" destId="{792D52A1-6FB7-4905-9A90-8002BDF1372D}" srcOrd="2" destOrd="0" presId="urn:microsoft.com/office/officeart/2016/7/layout/VerticalHollowActionList"/>
    <dgm:cxn modelId="{DACC4EA9-9197-436D-9017-4BEEF5F47212}" type="presParOf" srcId="{792D52A1-6FB7-4905-9A90-8002BDF1372D}" destId="{E141A7EA-FF82-4753-8040-2D6A68752DCC}" srcOrd="0" destOrd="0" presId="urn:microsoft.com/office/officeart/2016/7/layout/VerticalHollowActionList"/>
    <dgm:cxn modelId="{F6EF6043-D1A3-43F2-BA0F-C834ADBE1507}" type="presParOf" srcId="{792D52A1-6FB7-4905-9A90-8002BDF1372D}" destId="{4C87C104-C95A-4BEA-820D-EC26F87FC277}" srcOrd="1" destOrd="0" presId="urn:microsoft.com/office/officeart/2016/7/layout/VerticalHollow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803A2BE-B6CF-44DE-B762-F05E6EF5CE93}" type="doc">
      <dgm:prSet loTypeId="urn:microsoft.com/office/officeart/2005/8/layout/list1" loCatId="list" qsTypeId="urn:microsoft.com/office/officeart/2005/8/quickstyle/simple5" qsCatId="simple" csTypeId="urn:microsoft.com/office/officeart/2005/8/colors/accent6_1" csCatId="accent6"/>
      <dgm:spPr/>
      <dgm:t>
        <a:bodyPr/>
        <a:lstStyle/>
        <a:p>
          <a:endParaRPr lang="en-US"/>
        </a:p>
      </dgm:t>
    </dgm:pt>
    <dgm:pt modelId="{F264C3B9-1601-4EA5-B06E-66887DA9E7E1}">
      <dgm:prSet/>
      <dgm:spPr/>
      <dgm:t>
        <a:bodyPr/>
        <a:lstStyle/>
        <a:p>
          <a:r>
            <a:rPr lang="en-US" b="0" i="0" baseline="0"/>
            <a:t>Scalability &amp; Agility:</a:t>
          </a:r>
          <a:endParaRPr lang="en-US"/>
        </a:p>
      </dgm:t>
    </dgm:pt>
    <dgm:pt modelId="{F3A50787-D532-47FA-A162-BF0EF2BA73D1}" type="parTrans" cxnId="{100C5C49-B4D2-4283-B5C9-129BDE3F9306}">
      <dgm:prSet/>
      <dgm:spPr/>
      <dgm:t>
        <a:bodyPr/>
        <a:lstStyle/>
        <a:p>
          <a:endParaRPr lang="en-US"/>
        </a:p>
      </dgm:t>
    </dgm:pt>
    <dgm:pt modelId="{F1FD6C2D-9F81-4B3C-BF34-26AEF07B8F3F}" type="sibTrans" cxnId="{100C5C49-B4D2-4283-B5C9-129BDE3F9306}">
      <dgm:prSet/>
      <dgm:spPr/>
      <dgm:t>
        <a:bodyPr/>
        <a:lstStyle/>
        <a:p>
          <a:endParaRPr lang="en-US"/>
        </a:p>
      </dgm:t>
    </dgm:pt>
    <dgm:pt modelId="{B3720CFE-C002-4785-BBD5-E05C451F4613}">
      <dgm:prSet/>
      <dgm:spPr/>
      <dgm:t>
        <a:bodyPr/>
        <a:lstStyle/>
        <a:p>
          <a:r>
            <a:rPr lang="en-US" b="0" i="0" baseline="0" dirty="0"/>
            <a:t>Can respond to requests and implement features much quicker than in the past</a:t>
          </a:r>
          <a:endParaRPr lang="en-US" dirty="0"/>
        </a:p>
      </dgm:t>
    </dgm:pt>
    <dgm:pt modelId="{6D1F28C6-6B12-4FC7-932E-41694DF13975}" type="parTrans" cxnId="{31D7C18F-D14B-4144-8C28-B6034AA3568B}">
      <dgm:prSet/>
      <dgm:spPr/>
      <dgm:t>
        <a:bodyPr/>
        <a:lstStyle/>
        <a:p>
          <a:endParaRPr lang="en-US"/>
        </a:p>
      </dgm:t>
    </dgm:pt>
    <dgm:pt modelId="{AB5FC97A-D0FF-486B-A803-B96A3E498966}" type="sibTrans" cxnId="{31D7C18F-D14B-4144-8C28-B6034AA3568B}">
      <dgm:prSet/>
      <dgm:spPr/>
      <dgm:t>
        <a:bodyPr/>
        <a:lstStyle/>
        <a:p>
          <a:endParaRPr lang="en-US"/>
        </a:p>
      </dgm:t>
    </dgm:pt>
    <dgm:pt modelId="{261DF3BD-B721-4DB9-9980-ACACF91B815E}">
      <dgm:prSet/>
      <dgm:spPr/>
      <dgm:t>
        <a:bodyPr/>
        <a:lstStyle/>
        <a:p>
          <a:r>
            <a:rPr lang="en-US" b="0" i="0" baseline="0"/>
            <a:t>Easy to setup infrastructure in other geographies</a:t>
          </a:r>
          <a:endParaRPr lang="en-US"/>
        </a:p>
      </dgm:t>
    </dgm:pt>
    <dgm:pt modelId="{8AAD1AE0-1C78-4C98-8F7D-B0C4FB1D3F5C}" type="parTrans" cxnId="{C83CA0D4-03EE-412C-91AF-70061BC6F225}">
      <dgm:prSet/>
      <dgm:spPr/>
      <dgm:t>
        <a:bodyPr/>
        <a:lstStyle/>
        <a:p>
          <a:endParaRPr lang="en-US"/>
        </a:p>
      </dgm:t>
    </dgm:pt>
    <dgm:pt modelId="{35747E68-BE90-4D84-AD0C-A37607DDCB33}" type="sibTrans" cxnId="{C83CA0D4-03EE-412C-91AF-70061BC6F225}">
      <dgm:prSet/>
      <dgm:spPr/>
      <dgm:t>
        <a:bodyPr/>
        <a:lstStyle/>
        <a:p>
          <a:endParaRPr lang="en-US"/>
        </a:p>
      </dgm:t>
    </dgm:pt>
    <dgm:pt modelId="{5353645C-4436-41A6-8F88-3C4138961C81}">
      <dgm:prSet/>
      <dgm:spPr/>
      <dgm:t>
        <a:bodyPr/>
        <a:lstStyle/>
        <a:p>
          <a:r>
            <a:rPr lang="en-US" b="0" i="0" baseline="0"/>
            <a:t>Performance &amp; Availability:</a:t>
          </a:r>
          <a:endParaRPr lang="en-US"/>
        </a:p>
      </dgm:t>
    </dgm:pt>
    <dgm:pt modelId="{508C9CC8-DC5E-4D8A-B30E-5D1E5A896C4D}" type="parTrans" cxnId="{4E04FC2B-BE7A-4B7B-96B7-142C41AF88A7}">
      <dgm:prSet/>
      <dgm:spPr/>
      <dgm:t>
        <a:bodyPr/>
        <a:lstStyle/>
        <a:p>
          <a:endParaRPr lang="en-US"/>
        </a:p>
      </dgm:t>
    </dgm:pt>
    <dgm:pt modelId="{BD1B23EE-E032-4606-BE3F-A2D40BE9FC4F}" type="sibTrans" cxnId="{4E04FC2B-BE7A-4B7B-96B7-142C41AF88A7}">
      <dgm:prSet/>
      <dgm:spPr/>
      <dgm:t>
        <a:bodyPr/>
        <a:lstStyle/>
        <a:p>
          <a:endParaRPr lang="en-US"/>
        </a:p>
      </dgm:t>
    </dgm:pt>
    <dgm:pt modelId="{8A632AC0-A833-4528-8C67-F887B3488601}">
      <dgm:prSet/>
      <dgm:spPr/>
      <dgm:t>
        <a:bodyPr/>
        <a:lstStyle/>
        <a:p>
          <a:r>
            <a:rPr lang="en-US" b="0" i="0" baseline="0"/>
            <a:t>Avoid maintenance-related downtime</a:t>
          </a:r>
          <a:endParaRPr lang="en-US"/>
        </a:p>
      </dgm:t>
    </dgm:pt>
    <dgm:pt modelId="{F92B40D4-1851-403C-92B0-264AC5FE8C05}" type="parTrans" cxnId="{512C05E4-B325-4734-9223-E0EE26E0AF8B}">
      <dgm:prSet/>
      <dgm:spPr/>
      <dgm:t>
        <a:bodyPr/>
        <a:lstStyle/>
        <a:p>
          <a:endParaRPr lang="en-US"/>
        </a:p>
      </dgm:t>
    </dgm:pt>
    <dgm:pt modelId="{1A76D21C-02C1-42F2-83AF-AEE3853DE622}" type="sibTrans" cxnId="{512C05E4-B325-4734-9223-E0EE26E0AF8B}">
      <dgm:prSet/>
      <dgm:spPr/>
      <dgm:t>
        <a:bodyPr/>
        <a:lstStyle/>
        <a:p>
          <a:endParaRPr lang="en-US"/>
        </a:p>
      </dgm:t>
    </dgm:pt>
    <dgm:pt modelId="{92C6C1DC-F9B5-4E39-8E6B-24B9CFB0B5EC}">
      <dgm:prSet/>
      <dgm:spPr/>
      <dgm:t>
        <a:bodyPr/>
        <a:lstStyle/>
        <a:p>
          <a:r>
            <a:rPr lang="en-US" b="0" i="0" baseline="0"/>
            <a:t>Update regional servers in isolation from other global locations/offices</a:t>
          </a:r>
          <a:endParaRPr lang="en-US"/>
        </a:p>
      </dgm:t>
    </dgm:pt>
    <dgm:pt modelId="{D14C953C-ACFA-486C-BE18-2B7ED0282540}" type="parTrans" cxnId="{85170E13-401C-4587-8E0A-46763C7A95DD}">
      <dgm:prSet/>
      <dgm:spPr/>
      <dgm:t>
        <a:bodyPr/>
        <a:lstStyle/>
        <a:p>
          <a:endParaRPr lang="en-US"/>
        </a:p>
      </dgm:t>
    </dgm:pt>
    <dgm:pt modelId="{7953FBBD-4909-4A35-86DB-E58D564860E2}" type="sibTrans" cxnId="{85170E13-401C-4587-8E0A-46763C7A95DD}">
      <dgm:prSet/>
      <dgm:spPr/>
      <dgm:t>
        <a:bodyPr/>
        <a:lstStyle/>
        <a:p>
          <a:endParaRPr lang="en-US"/>
        </a:p>
      </dgm:t>
    </dgm:pt>
    <dgm:pt modelId="{5BFB96A9-D9C1-4F39-8722-0B84AAFA0385}" type="pres">
      <dgm:prSet presAssocID="{1803A2BE-B6CF-44DE-B762-F05E6EF5CE93}" presName="linear" presStyleCnt="0">
        <dgm:presLayoutVars>
          <dgm:dir/>
          <dgm:animLvl val="lvl"/>
          <dgm:resizeHandles val="exact"/>
        </dgm:presLayoutVars>
      </dgm:prSet>
      <dgm:spPr/>
    </dgm:pt>
    <dgm:pt modelId="{51A3455C-9A20-4FB1-99BB-D154B2440140}" type="pres">
      <dgm:prSet presAssocID="{F264C3B9-1601-4EA5-B06E-66887DA9E7E1}" presName="parentLin" presStyleCnt="0"/>
      <dgm:spPr/>
    </dgm:pt>
    <dgm:pt modelId="{7C1704B8-5936-4082-804B-537E9C9759FE}" type="pres">
      <dgm:prSet presAssocID="{F264C3B9-1601-4EA5-B06E-66887DA9E7E1}" presName="parentLeftMargin" presStyleLbl="node1" presStyleIdx="0" presStyleCnt="2"/>
      <dgm:spPr/>
    </dgm:pt>
    <dgm:pt modelId="{5A5597E2-9B6F-4F52-ADFB-443FEE98EDD5}" type="pres">
      <dgm:prSet presAssocID="{F264C3B9-1601-4EA5-B06E-66887DA9E7E1}" presName="parentText" presStyleLbl="node1" presStyleIdx="0" presStyleCnt="2">
        <dgm:presLayoutVars>
          <dgm:chMax val="0"/>
          <dgm:bulletEnabled val="1"/>
        </dgm:presLayoutVars>
      </dgm:prSet>
      <dgm:spPr/>
    </dgm:pt>
    <dgm:pt modelId="{E9DA13CD-7B9D-4BF8-87C4-10FDF4B86408}" type="pres">
      <dgm:prSet presAssocID="{F264C3B9-1601-4EA5-B06E-66887DA9E7E1}" presName="negativeSpace" presStyleCnt="0"/>
      <dgm:spPr/>
    </dgm:pt>
    <dgm:pt modelId="{5ADFF4C5-90BD-4EF5-9F68-3E387C44E384}" type="pres">
      <dgm:prSet presAssocID="{F264C3B9-1601-4EA5-B06E-66887DA9E7E1}" presName="childText" presStyleLbl="conFgAcc1" presStyleIdx="0" presStyleCnt="2">
        <dgm:presLayoutVars>
          <dgm:bulletEnabled val="1"/>
        </dgm:presLayoutVars>
      </dgm:prSet>
      <dgm:spPr/>
    </dgm:pt>
    <dgm:pt modelId="{ED85F6DB-DB8D-4304-840B-75089A5EA732}" type="pres">
      <dgm:prSet presAssocID="{F1FD6C2D-9F81-4B3C-BF34-26AEF07B8F3F}" presName="spaceBetweenRectangles" presStyleCnt="0"/>
      <dgm:spPr/>
    </dgm:pt>
    <dgm:pt modelId="{711067C3-5125-4345-BA06-5321ADC4D4CC}" type="pres">
      <dgm:prSet presAssocID="{5353645C-4436-41A6-8F88-3C4138961C81}" presName="parentLin" presStyleCnt="0"/>
      <dgm:spPr/>
    </dgm:pt>
    <dgm:pt modelId="{9BA66334-367C-4D79-80EB-066CDF849AA2}" type="pres">
      <dgm:prSet presAssocID="{5353645C-4436-41A6-8F88-3C4138961C81}" presName="parentLeftMargin" presStyleLbl="node1" presStyleIdx="0" presStyleCnt="2"/>
      <dgm:spPr/>
    </dgm:pt>
    <dgm:pt modelId="{BC19AF65-51F8-41AD-AF33-C8A4A6052CC2}" type="pres">
      <dgm:prSet presAssocID="{5353645C-4436-41A6-8F88-3C4138961C81}" presName="parentText" presStyleLbl="node1" presStyleIdx="1" presStyleCnt="2">
        <dgm:presLayoutVars>
          <dgm:chMax val="0"/>
          <dgm:bulletEnabled val="1"/>
        </dgm:presLayoutVars>
      </dgm:prSet>
      <dgm:spPr/>
    </dgm:pt>
    <dgm:pt modelId="{F2B60A3F-E061-4B84-96D6-A5A76F489683}" type="pres">
      <dgm:prSet presAssocID="{5353645C-4436-41A6-8F88-3C4138961C81}" presName="negativeSpace" presStyleCnt="0"/>
      <dgm:spPr/>
    </dgm:pt>
    <dgm:pt modelId="{ED97A017-BBE7-4BA4-B1CE-963D67D2FA1E}" type="pres">
      <dgm:prSet presAssocID="{5353645C-4436-41A6-8F88-3C4138961C81}" presName="childText" presStyleLbl="conFgAcc1" presStyleIdx="1" presStyleCnt="2">
        <dgm:presLayoutVars>
          <dgm:bulletEnabled val="1"/>
        </dgm:presLayoutVars>
      </dgm:prSet>
      <dgm:spPr/>
    </dgm:pt>
  </dgm:ptLst>
  <dgm:cxnLst>
    <dgm:cxn modelId="{65DA5904-4AEB-4176-8DD1-FD13814465F7}" type="presOf" srcId="{5353645C-4436-41A6-8F88-3C4138961C81}" destId="{9BA66334-367C-4D79-80EB-066CDF849AA2}" srcOrd="0" destOrd="0" presId="urn:microsoft.com/office/officeart/2005/8/layout/list1"/>
    <dgm:cxn modelId="{89C3C404-886D-4DA4-8FC6-3EAD2BACD4EB}" type="presOf" srcId="{92C6C1DC-F9B5-4E39-8E6B-24B9CFB0B5EC}" destId="{ED97A017-BBE7-4BA4-B1CE-963D67D2FA1E}" srcOrd="0" destOrd="1" presId="urn:microsoft.com/office/officeart/2005/8/layout/list1"/>
    <dgm:cxn modelId="{846E9C0E-B481-4023-A095-F2EEC8991460}" type="presOf" srcId="{F264C3B9-1601-4EA5-B06E-66887DA9E7E1}" destId="{7C1704B8-5936-4082-804B-537E9C9759FE}" srcOrd="0" destOrd="0" presId="urn:microsoft.com/office/officeart/2005/8/layout/list1"/>
    <dgm:cxn modelId="{85170E13-401C-4587-8E0A-46763C7A95DD}" srcId="{5353645C-4436-41A6-8F88-3C4138961C81}" destId="{92C6C1DC-F9B5-4E39-8E6B-24B9CFB0B5EC}" srcOrd="1" destOrd="0" parTransId="{D14C953C-ACFA-486C-BE18-2B7ED0282540}" sibTransId="{7953FBBD-4909-4A35-86DB-E58D564860E2}"/>
    <dgm:cxn modelId="{FF39CD1F-5F59-4C4E-80F1-4144219F64D5}" type="presOf" srcId="{261DF3BD-B721-4DB9-9980-ACACF91B815E}" destId="{5ADFF4C5-90BD-4EF5-9F68-3E387C44E384}" srcOrd="0" destOrd="1" presId="urn:microsoft.com/office/officeart/2005/8/layout/list1"/>
    <dgm:cxn modelId="{4E04FC2B-BE7A-4B7B-96B7-142C41AF88A7}" srcId="{1803A2BE-B6CF-44DE-B762-F05E6EF5CE93}" destId="{5353645C-4436-41A6-8F88-3C4138961C81}" srcOrd="1" destOrd="0" parTransId="{508C9CC8-DC5E-4D8A-B30E-5D1E5A896C4D}" sibTransId="{BD1B23EE-E032-4606-BE3F-A2D40BE9FC4F}"/>
    <dgm:cxn modelId="{A00ED631-55AB-4284-86CE-2CE458803E6B}" type="presOf" srcId="{F264C3B9-1601-4EA5-B06E-66887DA9E7E1}" destId="{5A5597E2-9B6F-4F52-ADFB-443FEE98EDD5}" srcOrd="1" destOrd="0" presId="urn:microsoft.com/office/officeart/2005/8/layout/list1"/>
    <dgm:cxn modelId="{100C5C49-B4D2-4283-B5C9-129BDE3F9306}" srcId="{1803A2BE-B6CF-44DE-B762-F05E6EF5CE93}" destId="{F264C3B9-1601-4EA5-B06E-66887DA9E7E1}" srcOrd="0" destOrd="0" parTransId="{F3A50787-D532-47FA-A162-BF0EF2BA73D1}" sibTransId="{F1FD6C2D-9F81-4B3C-BF34-26AEF07B8F3F}"/>
    <dgm:cxn modelId="{31D7C18F-D14B-4144-8C28-B6034AA3568B}" srcId="{F264C3B9-1601-4EA5-B06E-66887DA9E7E1}" destId="{B3720CFE-C002-4785-BBD5-E05C451F4613}" srcOrd="0" destOrd="0" parTransId="{6D1F28C6-6B12-4FC7-932E-41694DF13975}" sibTransId="{AB5FC97A-D0FF-486B-A803-B96A3E498966}"/>
    <dgm:cxn modelId="{DFE12699-72CC-45B6-B17D-E026663652FA}" type="presOf" srcId="{1803A2BE-B6CF-44DE-B762-F05E6EF5CE93}" destId="{5BFB96A9-D9C1-4F39-8722-0B84AAFA0385}" srcOrd="0" destOrd="0" presId="urn:microsoft.com/office/officeart/2005/8/layout/list1"/>
    <dgm:cxn modelId="{6DC3A6A5-82A0-4CA9-884C-91C19DB16208}" type="presOf" srcId="{5353645C-4436-41A6-8F88-3C4138961C81}" destId="{BC19AF65-51F8-41AD-AF33-C8A4A6052CC2}" srcOrd="1" destOrd="0" presId="urn:microsoft.com/office/officeart/2005/8/layout/list1"/>
    <dgm:cxn modelId="{F6AE09AC-2596-48F7-95FC-3F23E6572A24}" type="presOf" srcId="{8A632AC0-A833-4528-8C67-F887B3488601}" destId="{ED97A017-BBE7-4BA4-B1CE-963D67D2FA1E}" srcOrd="0" destOrd="0" presId="urn:microsoft.com/office/officeart/2005/8/layout/list1"/>
    <dgm:cxn modelId="{C83CA0D4-03EE-412C-91AF-70061BC6F225}" srcId="{F264C3B9-1601-4EA5-B06E-66887DA9E7E1}" destId="{261DF3BD-B721-4DB9-9980-ACACF91B815E}" srcOrd="1" destOrd="0" parTransId="{8AAD1AE0-1C78-4C98-8F7D-B0C4FB1D3F5C}" sibTransId="{35747E68-BE90-4D84-AD0C-A37607DDCB33}"/>
    <dgm:cxn modelId="{512C05E4-B325-4734-9223-E0EE26E0AF8B}" srcId="{5353645C-4436-41A6-8F88-3C4138961C81}" destId="{8A632AC0-A833-4528-8C67-F887B3488601}" srcOrd="0" destOrd="0" parTransId="{F92B40D4-1851-403C-92B0-264AC5FE8C05}" sibTransId="{1A76D21C-02C1-42F2-83AF-AEE3853DE622}"/>
    <dgm:cxn modelId="{FD19FEEA-A450-4F4D-93D4-2EE0B8575EAB}" type="presOf" srcId="{B3720CFE-C002-4785-BBD5-E05C451F4613}" destId="{5ADFF4C5-90BD-4EF5-9F68-3E387C44E384}" srcOrd="0" destOrd="0" presId="urn:microsoft.com/office/officeart/2005/8/layout/list1"/>
    <dgm:cxn modelId="{83163671-7EF4-4BEA-B9C0-DBA0D64CF833}" type="presParOf" srcId="{5BFB96A9-D9C1-4F39-8722-0B84AAFA0385}" destId="{51A3455C-9A20-4FB1-99BB-D154B2440140}" srcOrd="0" destOrd="0" presId="urn:microsoft.com/office/officeart/2005/8/layout/list1"/>
    <dgm:cxn modelId="{CB623640-7706-4550-AC2F-A7F9413D93E5}" type="presParOf" srcId="{51A3455C-9A20-4FB1-99BB-D154B2440140}" destId="{7C1704B8-5936-4082-804B-537E9C9759FE}" srcOrd="0" destOrd="0" presId="urn:microsoft.com/office/officeart/2005/8/layout/list1"/>
    <dgm:cxn modelId="{CC0FDB11-B3EC-4B5A-9FF8-8DA1B9EE156F}" type="presParOf" srcId="{51A3455C-9A20-4FB1-99BB-D154B2440140}" destId="{5A5597E2-9B6F-4F52-ADFB-443FEE98EDD5}" srcOrd="1" destOrd="0" presId="urn:microsoft.com/office/officeart/2005/8/layout/list1"/>
    <dgm:cxn modelId="{2D2AF102-1999-492A-9C96-095BA34F252F}" type="presParOf" srcId="{5BFB96A9-D9C1-4F39-8722-0B84AAFA0385}" destId="{E9DA13CD-7B9D-4BF8-87C4-10FDF4B86408}" srcOrd="1" destOrd="0" presId="urn:microsoft.com/office/officeart/2005/8/layout/list1"/>
    <dgm:cxn modelId="{4BFD1F2E-8802-45FD-87E1-29087E71573E}" type="presParOf" srcId="{5BFB96A9-D9C1-4F39-8722-0B84AAFA0385}" destId="{5ADFF4C5-90BD-4EF5-9F68-3E387C44E384}" srcOrd="2" destOrd="0" presId="urn:microsoft.com/office/officeart/2005/8/layout/list1"/>
    <dgm:cxn modelId="{065AF50F-A42E-43F0-9467-B28439416864}" type="presParOf" srcId="{5BFB96A9-D9C1-4F39-8722-0B84AAFA0385}" destId="{ED85F6DB-DB8D-4304-840B-75089A5EA732}" srcOrd="3" destOrd="0" presId="urn:microsoft.com/office/officeart/2005/8/layout/list1"/>
    <dgm:cxn modelId="{62053954-6D24-4379-91B3-129385771C95}" type="presParOf" srcId="{5BFB96A9-D9C1-4F39-8722-0B84AAFA0385}" destId="{711067C3-5125-4345-BA06-5321ADC4D4CC}" srcOrd="4" destOrd="0" presId="urn:microsoft.com/office/officeart/2005/8/layout/list1"/>
    <dgm:cxn modelId="{35F6A3B4-15FC-44B0-8384-E893C7267F7A}" type="presParOf" srcId="{711067C3-5125-4345-BA06-5321ADC4D4CC}" destId="{9BA66334-367C-4D79-80EB-066CDF849AA2}" srcOrd="0" destOrd="0" presId="urn:microsoft.com/office/officeart/2005/8/layout/list1"/>
    <dgm:cxn modelId="{2EE72B63-99C0-4B0C-9D3D-A479C57B66A7}" type="presParOf" srcId="{711067C3-5125-4345-BA06-5321ADC4D4CC}" destId="{BC19AF65-51F8-41AD-AF33-C8A4A6052CC2}" srcOrd="1" destOrd="0" presId="urn:microsoft.com/office/officeart/2005/8/layout/list1"/>
    <dgm:cxn modelId="{2FCD0381-6513-4F64-935B-F96EEC32E97F}" type="presParOf" srcId="{5BFB96A9-D9C1-4F39-8722-0B84AAFA0385}" destId="{F2B60A3F-E061-4B84-96D6-A5A76F489683}" srcOrd="5" destOrd="0" presId="urn:microsoft.com/office/officeart/2005/8/layout/list1"/>
    <dgm:cxn modelId="{4F7060E6-55F1-461C-9AE2-F233D8E963FC}" type="presParOf" srcId="{5BFB96A9-D9C1-4F39-8722-0B84AAFA0385}" destId="{ED97A017-BBE7-4BA4-B1CE-963D67D2FA1E}"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AE58908-CE06-4F4D-AAE3-C1303FE6385B}" type="doc">
      <dgm:prSet loTypeId="urn:microsoft.com/office/officeart/2008/layout/LinedList" loCatId="list" qsTypeId="urn:microsoft.com/office/officeart/2005/8/quickstyle/simple5" qsCatId="simple" csTypeId="urn:microsoft.com/office/officeart/2005/8/colors/accent0_3" csCatId="mainScheme" phldr="1"/>
      <dgm:spPr/>
      <dgm:t>
        <a:bodyPr/>
        <a:lstStyle/>
        <a:p>
          <a:endParaRPr lang="en-US"/>
        </a:p>
      </dgm:t>
    </dgm:pt>
    <dgm:pt modelId="{FC725057-3E81-4F0C-A0B5-7E6E313CC188}">
      <dgm:prSet/>
      <dgm:spPr/>
      <dgm:t>
        <a:bodyPr/>
        <a:lstStyle/>
        <a:p>
          <a:r>
            <a:rPr lang="en-US" b="0" i="0" baseline="0" dirty="0"/>
            <a:t>Improve the performance for customers and partners accessing the </a:t>
          </a:r>
          <a:r>
            <a:rPr lang="en-US" b="0" i="0" baseline="0" dirty="0" err="1"/>
            <a:t>Fastcar</a:t>
          </a:r>
          <a:r>
            <a:rPr lang="en-US" b="0" i="0" baseline="0" dirty="0"/>
            <a:t> Racing Inc. websites around the world</a:t>
          </a:r>
          <a:endParaRPr lang="en-US" dirty="0"/>
        </a:p>
      </dgm:t>
    </dgm:pt>
    <dgm:pt modelId="{3B0A024C-9E81-4C7D-9B30-337996DD7269}" type="parTrans" cxnId="{1CF7220F-7233-47CA-8CE4-7850D8512FB6}">
      <dgm:prSet/>
      <dgm:spPr/>
      <dgm:t>
        <a:bodyPr/>
        <a:lstStyle/>
        <a:p>
          <a:endParaRPr lang="en-US"/>
        </a:p>
      </dgm:t>
    </dgm:pt>
    <dgm:pt modelId="{66072B3D-0CE2-45BB-8212-CBAA53DDC9F0}" type="sibTrans" cxnId="{1CF7220F-7233-47CA-8CE4-7850D8512FB6}">
      <dgm:prSet/>
      <dgm:spPr/>
      <dgm:t>
        <a:bodyPr/>
        <a:lstStyle/>
        <a:p>
          <a:endParaRPr lang="en-US"/>
        </a:p>
      </dgm:t>
    </dgm:pt>
    <dgm:pt modelId="{2CF61746-D35C-4E5E-9790-A0BEDE39D372}">
      <dgm:prSet/>
      <dgm:spPr/>
      <dgm:t>
        <a:bodyPr/>
        <a:lstStyle/>
        <a:p>
          <a:r>
            <a:rPr lang="en-US" b="0" i="0" baseline="0"/>
            <a:t>Support for easily provisioning resources to meet bursts of demand</a:t>
          </a:r>
          <a:endParaRPr lang="en-US"/>
        </a:p>
      </dgm:t>
    </dgm:pt>
    <dgm:pt modelId="{2563517C-7F5A-4DA1-91CD-506137B10608}" type="parTrans" cxnId="{A1005EAE-6B89-4522-88CB-877F4B371AC1}">
      <dgm:prSet/>
      <dgm:spPr/>
      <dgm:t>
        <a:bodyPr/>
        <a:lstStyle/>
        <a:p>
          <a:endParaRPr lang="en-US"/>
        </a:p>
      </dgm:t>
    </dgm:pt>
    <dgm:pt modelId="{11DB2051-8BB3-4DE0-B41A-7CE0CDF209E2}" type="sibTrans" cxnId="{A1005EAE-6B89-4522-88CB-877F4B371AC1}">
      <dgm:prSet/>
      <dgm:spPr/>
      <dgm:t>
        <a:bodyPr/>
        <a:lstStyle/>
        <a:p>
          <a:endParaRPr lang="en-US"/>
        </a:p>
      </dgm:t>
    </dgm:pt>
    <dgm:pt modelId="{B6089ACD-9A29-4F86-9F53-E89A525FB028}">
      <dgm:prSet/>
      <dgm:spPr/>
      <dgm:t>
        <a:bodyPr/>
        <a:lstStyle/>
        <a:p>
          <a:r>
            <a:rPr lang="en-US" b="0" i="0" baseline="0"/>
            <a:t>Consolidate and improve the utilization of website and database hosting resources  </a:t>
          </a:r>
          <a:endParaRPr lang="en-US"/>
        </a:p>
      </dgm:t>
    </dgm:pt>
    <dgm:pt modelId="{FA7AA817-0917-4146-92B5-E71E8D529BAA}" type="parTrans" cxnId="{B2B4012A-89A5-4A22-A6D1-AEDDA87E110F}">
      <dgm:prSet/>
      <dgm:spPr/>
      <dgm:t>
        <a:bodyPr/>
        <a:lstStyle/>
        <a:p>
          <a:endParaRPr lang="en-US"/>
        </a:p>
      </dgm:t>
    </dgm:pt>
    <dgm:pt modelId="{A1A685F4-F837-45E0-87B8-3A755369C9DD}" type="sibTrans" cxnId="{B2B4012A-89A5-4A22-A6D1-AEDDA87E110F}">
      <dgm:prSet/>
      <dgm:spPr/>
      <dgm:t>
        <a:bodyPr/>
        <a:lstStyle/>
        <a:p>
          <a:endParaRPr lang="en-US"/>
        </a:p>
      </dgm:t>
    </dgm:pt>
    <dgm:pt modelId="{3402AAB6-4143-4074-869E-B2ABC52697BC}">
      <dgm:prSet/>
      <dgm:spPr/>
      <dgm:t>
        <a:bodyPr/>
        <a:lstStyle/>
        <a:p>
          <a:r>
            <a:rPr lang="en-US" b="0" i="0" baseline="0"/>
            <a:t>For their most demanding databases, they want to migrate without having to re-architect their database structure or make large changes the application</a:t>
          </a:r>
          <a:endParaRPr lang="en-US"/>
        </a:p>
      </dgm:t>
    </dgm:pt>
    <dgm:pt modelId="{3D9E4DF3-4205-4AF2-B211-BF5E761A1821}" type="parTrans" cxnId="{44F4D83F-B0EF-4D23-9E2A-BA9FF2C6D120}">
      <dgm:prSet/>
      <dgm:spPr/>
      <dgm:t>
        <a:bodyPr/>
        <a:lstStyle/>
        <a:p>
          <a:endParaRPr lang="en-US"/>
        </a:p>
      </dgm:t>
    </dgm:pt>
    <dgm:pt modelId="{E6E654B1-29B4-405E-8CFD-7665DF26937C}" type="sibTrans" cxnId="{44F4D83F-B0EF-4D23-9E2A-BA9FF2C6D120}">
      <dgm:prSet/>
      <dgm:spPr/>
      <dgm:t>
        <a:bodyPr/>
        <a:lstStyle/>
        <a:p>
          <a:endParaRPr lang="en-US"/>
        </a:p>
      </dgm:t>
    </dgm:pt>
    <dgm:pt modelId="{EEC0CAF1-AB7E-4F4E-9AAC-267118B52062}">
      <dgm:prSet/>
      <dgm:spPr/>
      <dgm:t>
        <a:bodyPr/>
        <a:lstStyle/>
        <a:p>
          <a:r>
            <a:rPr lang="en-US" b="0" i="0" baseline="0"/>
            <a:t>Avoid downtime, particularly that caused by web and database server patching</a:t>
          </a:r>
          <a:endParaRPr lang="en-US"/>
        </a:p>
      </dgm:t>
    </dgm:pt>
    <dgm:pt modelId="{8722E300-F940-4B4B-93B4-3A0FCB3F2174}" type="parTrans" cxnId="{C8E33AE9-2965-4FB7-AF77-2E9618A6184A}">
      <dgm:prSet/>
      <dgm:spPr/>
      <dgm:t>
        <a:bodyPr/>
        <a:lstStyle/>
        <a:p>
          <a:endParaRPr lang="en-US"/>
        </a:p>
      </dgm:t>
    </dgm:pt>
    <dgm:pt modelId="{46EEED00-3837-4E9E-85EB-EB18282486A6}" type="sibTrans" cxnId="{C8E33AE9-2965-4FB7-AF77-2E9618A6184A}">
      <dgm:prSet/>
      <dgm:spPr/>
      <dgm:t>
        <a:bodyPr/>
        <a:lstStyle/>
        <a:p>
          <a:endParaRPr lang="en-US"/>
        </a:p>
      </dgm:t>
    </dgm:pt>
    <dgm:pt modelId="{D17B0AF4-90D7-4CE7-90BA-812216CBA834}">
      <dgm:prSet/>
      <dgm:spPr/>
      <dgm:t>
        <a:bodyPr/>
        <a:lstStyle/>
        <a:p>
          <a:r>
            <a:rPr lang="en-US" b="0" i="0" baseline="0"/>
            <a:t>Leverage familiarity with Microsoft tools</a:t>
          </a:r>
          <a:endParaRPr lang="en-US"/>
        </a:p>
      </dgm:t>
    </dgm:pt>
    <dgm:pt modelId="{48D0D83A-7398-4318-8415-D9C6A2BEFA84}" type="parTrans" cxnId="{A65FD770-F6A7-4F2B-86C3-44336CA92798}">
      <dgm:prSet/>
      <dgm:spPr/>
      <dgm:t>
        <a:bodyPr/>
        <a:lstStyle/>
        <a:p>
          <a:endParaRPr lang="en-US"/>
        </a:p>
      </dgm:t>
    </dgm:pt>
    <dgm:pt modelId="{E630A44A-765A-4BFC-807B-21D92FFF4861}" type="sibTrans" cxnId="{A65FD770-F6A7-4F2B-86C3-44336CA92798}">
      <dgm:prSet/>
      <dgm:spPr/>
      <dgm:t>
        <a:bodyPr/>
        <a:lstStyle/>
        <a:p>
          <a:endParaRPr lang="en-US"/>
        </a:p>
      </dgm:t>
    </dgm:pt>
    <dgm:pt modelId="{4848877E-82ED-4528-9B5E-08E8D1E7CA7A}" type="pres">
      <dgm:prSet presAssocID="{4AE58908-CE06-4F4D-AAE3-C1303FE6385B}" presName="vert0" presStyleCnt="0">
        <dgm:presLayoutVars>
          <dgm:dir/>
          <dgm:animOne val="branch"/>
          <dgm:animLvl val="lvl"/>
        </dgm:presLayoutVars>
      </dgm:prSet>
      <dgm:spPr/>
    </dgm:pt>
    <dgm:pt modelId="{9E101854-AB72-4689-9A4A-1B26A763BA87}" type="pres">
      <dgm:prSet presAssocID="{FC725057-3E81-4F0C-A0B5-7E6E313CC188}" presName="thickLine" presStyleLbl="alignNode1" presStyleIdx="0" presStyleCnt="6"/>
      <dgm:spPr/>
    </dgm:pt>
    <dgm:pt modelId="{CD1167A6-C102-44B4-946A-4DE5CF926316}" type="pres">
      <dgm:prSet presAssocID="{FC725057-3E81-4F0C-A0B5-7E6E313CC188}" presName="horz1" presStyleCnt="0"/>
      <dgm:spPr/>
    </dgm:pt>
    <dgm:pt modelId="{F28967E6-6D19-4FC7-8AAE-5EFFA56356E1}" type="pres">
      <dgm:prSet presAssocID="{FC725057-3E81-4F0C-A0B5-7E6E313CC188}" presName="tx1" presStyleLbl="revTx" presStyleIdx="0" presStyleCnt="6"/>
      <dgm:spPr/>
    </dgm:pt>
    <dgm:pt modelId="{08D1AA4A-AFA9-477E-8E60-DD0177DC1BEC}" type="pres">
      <dgm:prSet presAssocID="{FC725057-3E81-4F0C-A0B5-7E6E313CC188}" presName="vert1" presStyleCnt="0"/>
      <dgm:spPr/>
    </dgm:pt>
    <dgm:pt modelId="{788FA50E-83EC-4ED0-B5DE-1B491A188FF5}" type="pres">
      <dgm:prSet presAssocID="{2CF61746-D35C-4E5E-9790-A0BEDE39D372}" presName="thickLine" presStyleLbl="alignNode1" presStyleIdx="1" presStyleCnt="6"/>
      <dgm:spPr/>
    </dgm:pt>
    <dgm:pt modelId="{7FAB8666-56DF-4799-83BF-72A5EFECEF9F}" type="pres">
      <dgm:prSet presAssocID="{2CF61746-D35C-4E5E-9790-A0BEDE39D372}" presName="horz1" presStyleCnt="0"/>
      <dgm:spPr/>
    </dgm:pt>
    <dgm:pt modelId="{B8256A1C-4938-4264-8AB3-E94E81006F95}" type="pres">
      <dgm:prSet presAssocID="{2CF61746-D35C-4E5E-9790-A0BEDE39D372}" presName="tx1" presStyleLbl="revTx" presStyleIdx="1" presStyleCnt="6"/>
      <dgm:spPr/>
    </dgm:pt>
    <dgm:pt modelId="{B90F7CEC-44E8-4D91-8E2B-8413DBBB9CDC}" type="pres">
      <dgm:prSet presAssocID="{2CF61746-D35C-4E5E-9790-A0BEDE39D372}" presName="vert1" presStyleCnt="0"/>
      <dgm:spPr/>
    </dgm:pt>
    <dgm:pt modelId="{A8A5539B-6C86-453F-970C-D92D77A262A4}" type="pres">
      <dgm:prSet presAssocID="{B6089ACD-9A29-4F86-9F53-E89A525FB028}" presName="thickLine" presStyleLbl="alignNode1" presStyleIdx="2" presStyleCnt="6"/>
      <dgm:spPr/>
    </dgm:pt>
    <dgm:pt modelId="{13093F07-4C21-4350-BBD6-12F7D2D92BEE}" type="pres">
      <dgm:prSet presAssocID="{B6089ACD-9A29-4F86-9F53-E89A525FB028}" presName="horz1" presStyleCnt="0"/>
      <dgm:spPr/>
    </dgm:pt>
    <dgm:pt modelId="{D856A0E3-D15C-4D2A-8006-55C5D015B85E}" type="pres">
      <dgm:prSet presAssocID="{B6089ACD-9A29-4F86-9F53-E89A525FB028}" presName="tx1" presStyleLbl="revTx" presStyleIdx="2" presStyleCnt="6"/>
      <dgm:spPr/>
    </dgm:pt>
    <dgm:pt modelId="{7A183E97-1C31-4A92-8EDD-12E465BA5560}" type="pres">
      <dgm:prSet presAssocID="{B6089ACD-9A29-4F86-9F53-E89A525FB028}" presName="vert1" presStyleCnt="0"/>
      <dgm:spPr/>
    </dgm:pt>
    <dgm:pt modelId="{5B4D00C7-7F03-4A23-A895-92A74394E386}" type="pres">
      <dgm:prSet presAssocID="{3402AAB6-4143-4074-869E-B2ABC52697BC}" presName="thickLine" presStyleLbl="alignNode1" presStyleIdx="3" presStyleCnt="6"/>
      <dgm:spPr/>
    </dgm:pt>
    <dgm:pt modelId="{1A6F4897-E50D-4E8C-964F-A52F1896D4DD}" type="pres">
      <dgm:prSet presAssocID="{3402AAB6-4143-4074-869E-B2ABC52697BC}" presName="horz1" presStyleCnt="0"/>
      <dgm:spPr/>
    </dgm:pt>
    <dgm:pt modelId="{4A38B823-B20F-4D5B-88FE-F6A2482B4F80}" type="pres">
      <dgm:prSet presAssocID="{3402AAB6-4143-4074-869E-B2ABC52697BC}" presName="tx1" presStyleLbl="revTx" presStyleIdx="3" presStyleCnt="6"/>
      <dgm:spPr/>
    </dgm:pt>
    <dgm:pt modelId="{F10DB041-519A-4105-A009-271823BF62E3}" type="pres">
      <dgm:prSet presAssocID="{3402AAB6-4143-4074-869E-B2ABC52697BC}" presName="vert1" presStyleCnt="0"/>
      <dgm:spPr/>
    </dgm:pt>
    <dgm:pt modelId="{A9A8A993-599A-4017-BCDB-34F1E18AFF88}" type="pres">
      <dgm:prSet presAssocID="{EEC0CAF1-AB7E-4F4E-9AAC-267118B52062}" presName="thickLine" presStyleLbl="alignNode1" presStyleIdx="4" presStyleCnt="6"/>
      <dgm:spPr/>
    </dgm:pt>
    <dgm:pt modelId="{0EA58059-7669-4D85-89A1-35348B635ADC}" type="pres">
      <dgm:prSet presAssocID="{EEC0CAF1-AB7E-4F4E-9AAC-267118B52062}" presName="horz1" presStyleCnt="0"/>
      <dgm:spPr/>
    </dgm:pt>
    <dgm:pt modelId="{F4FB256E-DE44-4D26-99F9-ADB74B5E4682}" type="pres">
      <dgm:prSet presAssocID="{EEC0CAF1-AB7E-4F4E-9AAC-267118B52062}" presName="tx1" presStyleLbl="revTx" presStyleIdx="4" presStyleCnt="6"/>
      <dgm:spPr/>
    </dgm:pt>
    <dgm:pt modelId="{7FD7CDD8-5C74-4F65-B916-E0A75BBC5C14}" type="pres">
      <dgm:prSet presAssocID="{EEC0CAF1-AB7E-4F4E-9AAC-267118B52062}" presName="vert1" presStyleCnt="0"/>
      <dgm:spPr/>
    </dgm:pt>
    <dgm:pt modelId="{BF6DD785-4135-4329-85E7-E81633BDB707}" type="pres">
      <dgm:prSet presAssocID="{D17B0AF4-90D7-4CE7-90BA-812216CBA834}" presName="thickLine" presStyleLbl="alignNode1" presStyleIdx="5" presStyleCnt="6"/>
      <dgm:spPr/>
    </dgm:pt>
    <dgm:pt modelId="{C0AB0283-F73C-43D7-A293-B90FA332194F}" type="pres">
      <dgm:prSet presAssocID="{D17B0AF4-90D7-4CE7-90BA-812216CBA834}" presName="horz1" presStyleCnt="0"/>
      <dgm:spPr/>
    </dgm:pt>
    <dgm:pt modelId="{59757060-4438-4473-88CF-5209CF7F7BF1}" type="pres">
      <dgm:prSet presAssocID="{D17B0AF4-90D7-4CE7-90BA-812216CBA834}" presName="tx1" presStyleLbl="revTx" presStyleIdx="5" presStyleCnt="6"/>
      <dgm:spPr/>
    </dgm:pt>
    <dgm:pt modelId="{BB901D14-5242-4634-83FC-CFA94B88FB6B}" type="pres">
      <dgm:prSet presAssocID="{D17B0AF4-90D7-4CE7-90BA-812216CBA834}" presName="vert1" presStyleCnt="0"/>
      <dgm:spPr/>
    </dgm:pt>
  </dgm:ptLst>
  <dgm:cxnLst>
    <dgm:cxn modelId="{C58DAC07-59EC-42E9-A464-2C6412541A4D}" type="presOf" srcId="{B6089ACD-9A29-4F86-9F53-E89A525FB028}" destId="{D856A0E3-D15C-4D2A-8006-55C5D015B85E}" srcOrd="0" destOrd="0" presId="urn:microsoft.com/office/officeart/2008/layout/LinedList"/>
    <dgm:cxn modelId="{1CF7220F-7233-47CA-8CE4-7850D8512FB6}" srcId="{4AE58908-CE06-4F4D-AAE3-C1303FE6385B}" destId="{FC725057-3E81-4F0C-A0B5-7E6E313CC188}" srcOrd="0" destOrd="0" parTransId="{3B0A024C-9E81-4C7D-9B30-337996DD7269}" sibTransId="{66072B3D-0CE2-45BB-8212-CBAA53DDC9F0}"/>
    <dgm:cxn modelId="{B2B4012A-89A5-4A22-A6D1-AEDDA87E110F}" srcId="{4AE58908-CE06-4F4D-AAE3-C1303FE6385B}" destId="{B6089ACD-9A29-4F86-9F53-E89A525FB028}" srcOrd="2" destOrd="0" parTransId="{FA7AA817-0917-4146-92B5-E71E8D529BAA}" sibTransId="{A1A685F4-F837-45E0-87B8-3A755369C9DD}"/>
    <dgm:cxn modelId="{DF3D6A38-11F6-4AE2-AED2-1E6A1358ED81}" type="presOf" srcId="{FC725057-3E81-4F0C-A0B5-7E6E313CC188}" destId="{F28967E6-6D19-4FC7-8AAE-5EFFA56356E1}" srcOrd="0" destOrd="0" presId="urn:microsoft.com/office/officeart/2008/layout/LinedList"/>
    <dgm:cxn modelId="{44F4D83F-B0EF-4D23-9E2A-BA9FF2C6D120}" srcId="{4AE58908-CE06-4F4D-AAE3-C1303FE6385B}" destId="{3402AAB6-4143-4074-869E-B2ABC52697BC}" srcOrd="3" destOrd="0" parTransId="{3D9E4DF3-4205-4AF2-B211-BF5E761A1821}" sibTransId="{E6E654B1-29B4-405E-8CFD-7665DF26937C}"/>
    <dgm:cxn modelId="{F377E263-0B97-43F8-87BD-9CB6A9859B1A}" type="presOf" srcId="{3402AAB6-4143-4074-869E-B2ABC52697BC}" destId="{4A38B823-B20F-4D5B-88FE-F6A2482B4F80}" srcOrd="0" destOrd="0" presId="urn:microsoft.com/office/officeart/2008/layout/LinedList"/>
    <dgm:cxn modelId="{A65FD770-F6A7-4F2B-86C3-44336CA92798}" srcId="{4AE58908-CE06-4F4D-AAE3-C1303FE6385B}" destId="{D17B0AF4-90D7-4CE7-90BA-812216CBA834}" srcOrd="5" destOrd="0" parTransId="{48D0D83A-7398-4318-8415-D9C6A2BEFA84}" sibTransId="{E630A44A-765A-4BFC-807B-21D92FFF4861}"/>
    <dgm:cxn modelId="{0B658C57-C17E-4C4E-8A4C-C1ED2DA0B79F}" type="presOf" srcId="{D17B0AF4-90D7-4CE7-90BA-812216CBA834}" destId="{59757060-4438-4473-88CF-5209CF7F7BF1}" srcOrd="0" destOrd="0" presId="urn:microsoft.com/office/officeart/2008/layout/LinedList"/>
    <dgm:cxn modelId="{68DD6EA4-7CBE-4266-A902-6DCA41493B18}" type="presOf" srcId="{4AE58908-CE06-4F4D-AAE3-C1303FE6385B}" destId="{4848877E-82ED-4528-9B5E-08E8D1E7CA7A}" srcOrd="0" destOrd="0" presId="urn:microsoft.com/office/officeart/2008/layout/LinedList"/>
    <dgm:cxn modelId="{7DCA5AA6-E120-4533-A39E-5D5F24C793EC}" type="presOf" srcId="{2CF61746-D35C-4E5E-9790-A0BEDE39D372}" destId="{B8256A1C-4938-4264-8AB3-E94E81006F95}" srcOrd="0" destOrd="0" presId="urn:microsoft.com/office/officeart/2008/layout/LinedList"/>
    <dgm:cxn modelId="{A1005EAE-6B89-4522-88CB-877F4B371AC1}" srcId="{4AE58908-CE06-4F4D-AAE3-C1303FE6385B}" destId="{2CF61746-D35C-4E5E-9790-A0BEDE39D372}" srcOrd="1" destOrd="0" parTransId="{2563517C-7F5A-4DA1-91CD-506137B10608}" sibTransId="{11DB2051-8BB3-4DE0-B41A-7CE0CDF209E2}"/>
    <dgm:cxn modelId="{171D07BB-EEE5-4823-B316-E09548A7C35D}" type="presOf" srcId="{EEC0CAF1-AB7E-4F4E-9AAC-267118B52062}" destId="{F4FB256E-DE44-4D26-99F9-ADB74B5E4682}" srcOrd="0" destOrd="0" presId="urn:microsoft.com/office/officeart/2008/layout/LinedList"/>
    <dgm:cxn modelId="{C8E33AE9-2965-4FB7-AF77-2E9618A6184A}" srcId="{4AE58908-CE06-4F4D-AAE3-C1303FE6385B}" destId="{EEC0CAF1-AB7E-4F4E-9AAC-267118B52062}" srcOrd="4" destOrd="0" parTransId="{8722E300-F940-4B4B-93B4-3A0FCB3F2174}" sibTransId="{46EEED00-3837-4E9E-85EB-EB18282486A6}"/>
    <dgm:cxn modelId="{96D21A5A-1744-4F35-AB4A-B500F7501C5F}" type="presParOf" srcId="{4848877E-82ED-4528-9B5E-08E8D1E7CA7A}" destId="{9E101854-AB72-4689-9A4A-1B26A763BA87}" srcOrd="0" destOrd="0" presId="urn:microsoft.com/office/officeart/2008/layout/LinedList"/>
    <dgm:cxn modelId="{61AF4075-5C0E-4CBB-A21F-4CC1BD6D61BD}" type="presParOf" srcId="{4848877E-82ED-4528-9B5E-08E8D1E7CA7A}" destId="{CD1167A6-C102-44B4-946A-4DE5CF926316}" srcOrd="1" destOrd="0" presId="urn:microsoft.com/office/officeart/2008/layout/LinedList"/>
    <dgm:cxn modelId="{B82F6478-84DA-4245-8724-E0C926CB4150}" type="presParOf" srcId="{CD1167A6-C102-44B4-946A-4DE5CF926316}" destId="{F28967E6-6D19-4FC7-8AAE-5EFFA56356E1}" srcOrd="0" destOrd="0" presId="urn:microsoft.com/office/officeart/2008/layout/LinedList"/>
    <dgm:cxn modelId="{59915663-7CE8-4832-A140-B8133C95CD66}" type="presParOf" srcId="{CD1167A6-C102-44B4-946A-4DE5CF926316}" destId="{08D1AA4A-AFA9-477E-8E60-DD0177DC1BEC}" srcOrd="1" destOrd="0" presId="urn:microsoft.com/office/officeart/2008/layout/LinedList"/>
    <dgm:cxn modelId="{E30CDFFF-2C1E-4737-8F42-3D50472F21B4}" type="presParOf" srcId="{4848877E-82ED-4528-9B5E-08E8D1E7CA7A}" destId="{788FA50E-83EC-4ED0-B5DE-1B491A188FF5}" srcOrd="2" destOrd="0" presId="urn:microsoft.com/office/officeart/2008/layout/LinedList"/>
    <dgm:cxn modelId="{C1BB31D7-D9B0-48C8-B2F0-FCB01CC04E19}" type="presParOf" srcId="{4848877E-82ED-4528-9B5E-08E8D1E7CA7A}" destId="{7FAB8666-56DF-4799-83BF-72A5EFECEF9F}" srcOrd="3" destOrd="0" presId="urn:microsoft.com/office/officeart/2008/layout/LinedList"/>
    <dgm:cxn modelId="{6658D041-25EB-4FD1-B91B-E0D810F9537C}" type="presParOf" srcId="{7FAB8666-56DF-4799-83BF-72A5EFECEF9F}" destId="{B8256A1C-4938-4264-8AB3-E94E81006F95}" srcOrd="0" destOrd="0" presId="urn:microsoft.com/office/officeart/2008/layout/LinedList"/>
    <dgm:cxn modelId="{987A4829-797C-47C5-9269-CF1D06B9A9CB}" type="presParOf" srcId="{7FAB8666-56DF-4799-83BF-72A5EFECEF9F}" destId="{B90F7CEC-44E8-4D91-8E2B-8413DBBB9CDC}" srcOrd="1" destOrd="0" presId="urn:microsoft.com/office/officeart/2008/layout/LinedList"/>
    <dgm:cxn modelId="{FF827387-90DC-43F6-82C4-73A0C8E32E8D}" type="presParOf" srcId="{4848877E-82ED-4528-9B5E-08E8D1E7CA7A}" destId="{A8A5539B-6C86-453F-970C-D92D77A262A4}" srcOrd="4" destOrd="0" presId="urn:microsoft.com/office/officeart/2008/layout/LinedList"/>
    <dgm:cxn modelId="{A1D7F3F3-69EB-48E1-978C-BCE70DF73EBA}" type="presParOf" srcId="{4848877E-82ED-4528-9B5E-08E8D1E7CA7A}" destId="{13093F07-4C21-4350-BBD6-12F7D2D92BEE}" srcOrd="5" destOrd="0" presId="urn:microsoft.com/office/officeart/2008/layout/LinedList"/>
    <dgm:cxn modelId="{064CBF66-C635-4239-93F8-D8E991BF6FBF}" type="presParOf" srcId="{13093F07-4C21-4350-BBD6-12F7D2D92BEE}" destId="{D856A0E3-D15C-4D2A-8006-55C5D015B85E}" srcOrd="0" destOrd="0" presId="urn:microsoft.com/office/officeart/2008/layout/LinedList"/>
    <dgm:cxn modelId="{D8EB3957-7607-4864-9D5F-3418D524EADE}" type="presParOf" srcId="{13093F07-4C21-4350-BBD6-12F7D2D92BEE}" destId="{7A183E97-1C31-4A92-8EDD-12E465BA5560}" srcOrd="1" destOrd="0" presId="urn:microsoft.com/office/officeart/2008/layout/LinedList"/>
    <dgm:cxn modelId="{A5FEADC6-BC53-4628-B7AA-3EC756DDC91D}" type="presParOf" srcId="{4848877E-82ED-4528-9B5E-08E8D1E7CA7A}" destId="{5B4D00C7-7F03-4A23-A895-92A74394E386}" srcOrd="6" destOrd="0" presId="urn:microsoft.com/office/officeart/2008/layout/LinedList"/>
    <dgm:cxn modelId="{8F03E4C0-2A63-4726-8342-9AF8452EEFEE}" type="presParOf" srcId="{4848877E-82ED-4528-9B5E-08E8D1E7CA7A}" destId="{1A6F4897-E50D-4E8C-964F-A52F1896D4DD}" srcOrd="7" destOrd="0" presId="urn:microsoft.com/office/officeart/2008/layout/LinedList"/>
    <dgm:cxn modelId="{1DFCD8A5-D6C0-4A97-AC2A-1B91DBEE6746}" type="presParOf" srcId="{1A6F4897-E50D-4E8C-964F-A52F1896D4DD}" destId="{4A38B823-B20F-4D5B-88FE-F6A2482B4F80}" srcOrd="0" destOrd="0" presId="urn:microsoft.com/office/officeart/2008/layout/LinedList"/>
    <dgm:cxn modelId="{A46155F4-2D6C-4B6A-8EE1-44E331DCE992}" type="presParOf" srcId="{1A6F4897-E50D-4E8C-964F-A52F1896D4DD}" destId="{F10DB041-519A-4105-A009-271823BF62E3}" srcOrd="1" destOrd="0" presId="urn:microsoft.com/office/officeart/2008/layout/LinedList"/>
    <dgm:cxn modelId="{CFD9614A-1062-4278-8BD6-DBF895C90E87}" type="presParOf" srcId="{4848877E-82ED-4528-9B5E-08E8D1E7CA7A}" destId="{A9A8A993-599A-4017-BCDB-34F1E18AFF88}" srcOrd="8" destOrd="0" presId="urn:microsoft.com/office/officeart/2008/layout/LinedList"/>
    <dgm:cxn modelId="{D45B3F36-58FD-4BBE-9B10-D4AC827D1C38}" type="presParOf" srcId="{4848877E-82ED-4528-9B5E-08E8D1E7CA7A}" destId="{0EA58059-7669-4D85-89A1-35348B635ADC}" srcOrd="9" destOrd="0" presId="urn:microsoft.com/office/officeart/2008/layout/LinedList"/>
    <dgm:cxn modelId="{6867CAEB-F21B-437E-9030-26240700BC5E}" type="presParOf" srcId="{0EA58059-7669-4D85-89A1-35348B635ADC}" destId="{F4FB256E-DE44-4D26-99F9-ADB74B5E4682}" srcOrd="0" destOrd="0" presId="urn:microsoft.com/office/officeart/2008/layout/LinedList"/>
    <dgm:cxn modelId="{F66384CE-5E76-48AF-9024-9F9AC1A00E01}" type="presParOf" srcId="{0EA58059-7669-4D85-89A1-35348B635ADC}" destId="{7FD7CDD8-5C74-4F65-B916-E0A75BBC5C14}" srcOrd="1" destOrd="0" presId="urn:microsoft.com/office/officeart/2008/layout/LinedList"/>
    <dgm:cxn modelId="{EDAFE404-A405-4E07-9226-E7F1A56CB177}" type="presParOf" srcId="{4848877E-82ED-4528-9B5E-08E8D1E7CA7A}" destId="{BF6DD785-4135-4329-85E7-E81633BDB707}" srcOrd="10" destOrd="0" presId="urn:microsoft.com/office/officeart/2008/layout/LinedList"/>
    <dgm:cxn modelId="{8FA6C2AB-A624-4445-9B42-67CAE6F80787}" type="presParOf" srcId="{4848877E-82ED-4528-9B5E-08E8D1E7CA7A}" destId="{C0AB0283-F73C-43D7-A293-B90FA332194F}" srcOrd="11" destOrd="0" presId="urn:microsoft.com/office/officeart/2008/layout/LinedList"/>
    <dgm:cxn modelId="{9F5A90F2-C85B-4F87-BD21-AA2719E13AA1}" type="presParOf" srcId="{C0AB0283-F73C-43D7-A293-B90FA332194F}" destId="{59757060-4438-4473-88CF-5209CF7F7BF1}" srcOrd="0" destOrd="0" presId="urn:microsoft.com/office/officeart/2008/layout/LinedList"/>
    <dgm:cxn modelId="{A3444A61-71E1-4F91-BA5C-8B54EB1A0C14}" type="presParOf" srcId="{C0AB0283-F73C-43D7-A293-B90FA332194F}" destId="{BB901D14-5242-4634-83FC-CFA94B88FB6B}" srcOrd="1" destOrd="0" presId="urn:microsoft.com/office/officeart/2008/layout/LinedList"/>
  </dgm:cxnLst>
  <dgm:bg>
    <a:solidFill>
      <a:schemeClr val="accent6">
        <a:lumMod val="20000"/>
        <a:lumOff val="80000"/>
      </a:schemeClr>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66FFBA3-9E4B-4D14-A9A2-C83E333CF336}" type="doc">
      <dgm:prSet loTypeId="urn:microsoft.com/office/officeart/2005/8/layout/list1" loCatId="list" qsTypeId="urn:microsoft.com/office/officeart/2005/8/quickstyle/simple3" qsCatId="simple" csTypeId="urn:microsoft.com/office/officeart/2005/8/colors/colorful2" csCatId="colorful" phldr="1"/>
      <dgm:spPr/>
      <dgm:t>
        <a:bodyPr/>
        <a:lstStyle/>
        <a:p>
          <a:endParaRPr lang="en-US"/>
        </a:p>
      </dgm:t>
    </dgm:pt>
    <dgm:pt modelId="{C0246130-88E9-40DF-B15E-2985125236E7}">
      <dgm:prSet/>
      <dgm:spPr/>
      <dgm:t>
        <a:bodyPr/>
        <a:lstStyle/>
        <a:p>
          <a:r>
            <a:rPr lang="en-US" b="0" i="0" baseline="0"/>
            <a:t>Tool Familiarity:</a:t>
          </a:r>
          <a:endParaRPr lang="en-US"/>
        </a:p>
      </dgm:t>
    </dgm:pt>
    <dgm:pt modelId="{135D36EB-75CB-4402-B4DA-B5683F430B25}" type="parTrans" cxnId="{A4C09048-4946-4B16-9981-217A559EC229}">
      <dgm:prSet/>
      <dgm:spPr/>
      <dgm:t>
        <a:bodyPr/>
        <a:lstStyle/>
        <a:p>
          <a:endParaRPr lang="en-US"/>
        </a:p>
      </dgm:t>
    </dgm:pt>
    <dgm:pt modelId="{D8AD631C-6FC9-4541-B8F8-528238D4FD80}" type="sibTrans" cxnId="{A4C09048-4946-4B16-9981-217A559EC229}">
      <dgm:prSet/>
      <dgm:spPr/>
      <dgm:t>
        <a:bodyPr/>
        <a:lstStyle/>
        <a:p>
          <a:endParaRPr lang="en-US"/>
        </a:p>
      </dgm:t>
    </dgm:pt>
    <dgm:pt modelId="{F82D978C-C44E-42AF-A1D3-D084F06FF54A}">
      <dgm:prSet/>
      <dgm:spPr>
        <a:solidFill>
          <a:schemeClr val="accent6">
            <a:lumMod val="40000"/>
            <a:lumOff val="60000"/>
            <a:alpha val="90000"/>
          </a:schemeClr>
        </a:solidFill>
      </dgm:spPr>
      <dgm:t>
        <a:bodyPr/>
        <a:lstStyle/>
        <a:p>
          <a:r>
            <a:rPr lang="en-US" b="0" i="0" baseline="0" dirty="0"/>
            <a:t>Will we need to learn new tools to develop for Azure Websites and SQL Database? </a:t>
          </a:r>
          <a:r>
            <a:rPr lang="en-US" b="1" i="0" baseline="0" dirty="0"/>
            <a:t>NO</a:t>
          </a:r>
          <a:endParaRPr lang="en-US" b="1" dirty="0"/>
        </a:p>
      </dgm:t>
    </dgm:pt>
    <dgm:pt modelId="{8831165A-8BCD-46BD-A3FB-5636E7E02928}" type="parTrans" cxnId="{45615F77-7FBB-4C49-8A6B-F70FD032ED9D}">
      <dgm:prSet/>
      <dgm:spPr/>
      <dgm:t>
        <a:bodyPr/>
        <a:lstStyle/>
        <a:p>
          <a:endParaRPr lang="en-US"/>
        </a:p>
      </dgm:t>
    </dgm:pt>
    <dgm:pt modelId="{DCD30A18-23A0-4D24-9397-7DFE1D0945FC}" type="sibTrans" cxnId="{45615F77-7FBB-4C49-8A6B-F70FD032ED9D}">
      <dgm:prSet/>
      <dgm:spPr/>
      <dgm:t>
        <a:bodyPr/>
        <a:lstStyle/>
        <a:p>
          <a:endParaRPr lang="en-US"/>
        </a:p>
      </dgm:t>
    </dgm:pt>
    <dgm:pt modelId="{6101A623-CE4A-4880-BB58-FA642A28B501}">
      <dgm:prSet/>
      <dgm:spPr>
        <a:solidFill>
          <a:schemeClr val="accent6">
            <a:lumMod val="40000"/>
            <a:lumOff val="60000"/>
            <a:alpha val="90000"/>
          </a:schemeClr>
        </a:solidFill>
      </dgm:spPr>
      <dgm:t>
        <a:bodyPr/>
        <a:lstStyle/>
        <a:p>
          <a:r>
            <a:rPr lang="en-US" b="0" i="0" baseline="0" dirty="0"/>
            <a:t>What about diagnosing problems? Are there new tools we need purchase and learn? </a:t>
          </a:r>
          <a:r>
            <a:rPr lang="en-US" b="1" i="0" baseline="0" dirty="0"/>
            <a:t>Built-in</a:t>
          </a:r>
          <a:endParaRPr lang="en-US" dirty="0"/>
        </a:p>
      </dgm:t>
    </dgm:pt>
    <dgm:pt modelId="{614BA8AB-11E5-4698-B805-0406827B74C0}" type="parTrans" cxnId="{C5F9DF86-E052-4287-ACEE-0AE8F119ED26}">
      <dgm:prSet/>
      <dgm:spPr/>
      <dgm:t>
        <a:bodyPr/>
        <a:lstStyle/>
        <a:p>
          <a:endParaRPr lang="en-US"/>
        </a:p>
      </dgm:t>
    </dgm:pt>
    <dgm:pt modelId="{950B373C-1EA6-4853-A044-0228672225F8}" type="sibTrans" cxnId="{C5F9DF86-E052-4287-ACEE-0AE8F119ED26}">
      <dgm:prSet/>
      <dgm:spPr/>
      <dgm:t>
        <a:bodyPr/>
        <a:lstStyle/>
        <a:p>
          <a:endParaRPr lang="en-US"/>
        </a:p>
      </dgm:t>
    </dgm:pt>
    <dgm:pt modelId="{4D138C8F-BF97-44E7-9AB4-FE71648A6A7C}">
      <dgm:prSet/>
      <dgm:spPr/>
      <dgm:t>
        <a:bodyPr/>
        <a:lstStyle/>
        <a:p>
          <a:r>
            <a:rPr lang="en-US" b="0" i="0" baseline="0"/>
            <a:t>Connectivity:</a:t>
          </a:r>
          <a:endParaRPr lang="en-US"/>
        </a:p>
      </dgm:t>
    </dgm:pt>
    <dgm:pt modelId="{E2A23D74-069C-4317-9A07-508EDB44A13A}" type="parTrans" cxnId="{B94B68B8-E69E-4446-9D6B-67FDDB4BC43E}">
      <dgm:prSet/>
      <dgm:spPr/>
      <dgm:t>
        <a:bodyPr/>
        <a:lstStyle/>
        <a:p>
          <a:endParaRPr lang="en-US"/>
        </a:p>
      </dgm:t>
    </dgm:pt>
    <dgm:pt modelId="{45898CFE-7289-4E4B-BAB8-A5832D239DEA}" type="sibTrans" cxnId="{B94B68B8-E69E-4446-9D6B-67FDDB4BC43E}">
      <dgm:prSet/>
      <dgm:spPr/>
      <dgm:t>
        <a:bodyPr/>
        <a:lstStyle/>
        <a:p>
          <a:endParaRPr lang="en-US"/>
        </a:p>
      </dgm:t>
    </dgm:pt>
    <dgm:pt modelId="{3EF78A25-96A8-4856-ADB1-EFC0442248BD}">
      <dgm:prSet/>
      <dgm:spPr>
        <a:solidFill>
          <a:schemeClr val="accent6">
            <a:lumMod val="40000"/>
            <a:lumOff val="60000"/>
            <a:alpha val="90000"/>
          </a:schemeClr>
        </a:solidFill>
      </dgm:spPr>
      <dgm:t>
        <a:bodyPr/>
        <a:lstStyle/>
        <a:p>
          <a:r>
            <a:rPr lang="en-US" b="0" i="0" baseline="0" dirty="0"/>
            <a:t>Some of our enterprise web services need to access data and other services located on-premises, is this supported? </a:t>
          </a:r>
          <a:r>
            <a:rPr lang="en-US" b="1" i="0" baseline="0" dirty="0"/>
            <a:t>VNET ROUTING</a:t>
          </a:r>
          <a:endParaRPr lang="en-US" dirty="0"/>
        </a:p>
      </dgm:t>
    </dgm:pt>
    <dgm:pt modelId="{8F4281B2-2884-4698-9257-605597CF7839}" type="parTrans" cxnId="{E187ABDA-69C1-4EA0-9282-EA0166EE093A}">
      <dgm:prSet/>
      <dgm:spPr/>
      <dgm:t>
        <a:bodyPr/>
        <a:lstStyle/>
        <a:p>
          <a:endParaRPr lang="en-US"/>
        </a:p>
      </dgm:t>
    </dgm:pt>
    <dgm:pt modelId="{B8EF057A-08C5-47D6-9456-DD20A960B176}" type="sibTrans" cxnId="{E187ABDA-69C1-4EA0-9282-EA0166EE093A}">
      <dgm:prSet/>
      <dgm:spPr/>
      <dgm:t>
        <a:bodyPr/>
        <a:lstStyle/>
        <a:p>
          <a:endParaRPr lang="en-US"/>
        </a:p>
      </dgm:t>
    </dgm:pt>
    <dgm:pt modelId="{848D320E-BD7C-469A-9D10-BC164B14C884}">
      <dgm:prSet/>
      <dgm:spPr>
        <a:solidFill>
          <a:schemeClr val="accent6">
            <a:lumMod val="40000"/>
            <a:lumOff val="60000"/>
            <a:alpha val="90000"/>
          </a:schemeClr>
        </a:solidFill>
      </dgm:spPr>
      <dgm:t>
        <a:bodyPr/>
        <a:lstStyle/>
        <a:p>
          <a:r>
            <a:rPr lang="en-US" b="0" i="0" baseline="0" dirty="0"/>
            <a:t>How can we ensure we are delivering the lowest latency possible to our website visitors? </a:t>
          </a:r>
          <a:r>
            <a:rPr lang="en-US" b="1" i="0" baseline="0" dirty="0"/>
            <a:t>Traffic </a:t>
          </a:r>
          <a:r>
            <a:rPr lang="en-US" b="1" i="0" baseline="0" dirty="0" err="1"/>
            <a:t>Mgr</a:t>
          </a:r>
          <a:endParaRPr lang="en-US" dirty="0"/>
        </a:p>
      </dgm:t>
    </dgm:pt>
    <dgm:pt modelId="{318EB6DF-2B61-449B-A624-45B87F885630}" type="parTrans" cxnId="{822A368E-1EEC-480D-91E5-C9D98786D549}">
      <dgm:prSet/>
      <dgm:spPr/>
      <dgm:t>
        <a:bodyPr/>
        <a:lstStyle/>
        <a:p>
          <a:endParaRPr lang="en-US"/>
        </a:p>
      </dgm:t>
    </dgm:pt>
    <dgm:pt modelId="{87F48C94-4D88-4DD2-99C5-A515F78725D6}" type="sibTrans" cxnId="{822A368E-1EEC-480D-91E5-C9D98786D549}">
      <dgm:prSet/>
      <dgm:spPr/>
      <dgm:t>
        <a:bodyPr/>
        <a:lstStyle/>
        <a:p>
          <a:endParaRPr lang="en-US"/>
        </a:p>
      </dgm:t>
    </dgm:pt>
    <dgm:pt modelId="{C23EBDD8-7D89-4E7A-B5D1-A32C0052A669}">
      <dgm:prSet/>
      <dgm:spPr>
        <a:solidFill>
          <a:schemeClr val="accent6">
            <a:lumMod val="40000"/>
            <a:lumOff val="60000"/>
            <a:alpha val="90000"/>
          </a:schemeClr>
        </a:solidFill>
      </dgm:spPr>
      <dgm:t>
        <a:bodyPr/>
        <a:lstStyle/>
        <a:p>
          <a:r>
            <a:rPr lang="en-US" b="0" i="0" baseline="0" dirty="0"/>
            <a:t>We need to ensure that if we have multiple web servers backing a given website, that no one web server gets all the traffic </a:t>
          </a:r>
          <a:r>
            <a:rPr lang="en-US" b="1" i="0" baseline="0" dirty="0"/>
            <a:t>Web App Service Plans</a:t>
          </a:r>
          <a:endParaRPr lang="en-US" dirty="0"/>
        </a:p>
      </dgm:t>
    </dgm:pt>
    <dgm:pt modelId="{32EA1D02-E628-4A7F-8F0B-F73BD08DE4BE}" type="parTrans" cxnId="{2F474098-C42C-4429-8381-5E73D821A128}">
      <dgm:prSet/>
      <dgm:spPr/>
      <dgm:t>
        <a:bodyPr/>
        <a:lstStyle/>
        <a:p>
          <a:endParaRPr lang="en-US"/>
        </a:p>
      </dgm:t>
    </dgm:pt>
    <dgm:pt modelId="{C1E840BE-D301-442B-8099-68AC83D16E58}" type="sibTrans" cxnId="{2F474098-C42C-4429-8381-5E73D821A128}">
      <dgm:prSet/>
      <dgm:spPr/>
      <dgm:t>
        <a:bodyPr/>
        <a:lstStyle/>
        <a:p>
          <a:endParaRPr lang="en-US"/>
        </a:p>
      </dgm:t>
    </dgm:pt>
    <dgm:pt modelId="{7EAC8345-7D49-44A8-B63F-9D4D52124A65}" type="pres">
      <dgm:prSet presAssocID="{966FFBA3-9E4B-4D14-A9A2-C83E333CF336}" presName="linear" presStyleCnt="0">
        <dgm:presLayoutVars>
          <dgm:dir/>
          <dgm:animLvl val="lvl"/>
          <dgm:resizeHandles val="exact"/>
        </dgm:presLayoutVars>
      </dgm:prSet>
      <dgm:spPr/>
    </dgm:pt>
    <dgm:pt modelId="{99DDEC67-1F2E-4A2A-BB06-C2EC05EB5601}" type="pres">
      <dgm:prSet presAssocID="{C0246130-88E9-40DF-B15E-2985125236E7}" presName="parentLin" presStyleCnt="0"/>
      <dgm:spPr/>
    </dgm:pt>
    <dgm:pt modelId="{7A052BF5-8C45-47A3-BFE6-C351A51FFECB}" type="pres">
      <dgm:prSet presAssocID="{C0246130-88E9-40DF-B15E-2985125236E7}" presName="parentLeftMargin" presStyleLbl="node1" presStyleIdx="0" presStyleCnt="2"/>
      <dgm:spPr/>
    </dgm:pt>
    <dgm:pt modelId="{08CBAE86-71EC-4371-AA4D-422E2AD7526F}" type="pres">
      <dgm:prSet presAssocID="{C0246130-88E9-40DF-B15E-2985125236E7}" presName="parentText" presStyleLbl="node1" presStyleIdx="0" presStyleCnt="2">
        <dgm:presLayoutVars>
          <dgm:chMax val="0"/>
          <dgm:bulletEnabled val="1"/>
        </dgm:presLayoutVars>
      </dgm:prSet>
      <dgm:spPr/>
    </dgm:pt>
    <dgm:pt modelId="{26546522-22AC-4972-A163-D60607DBAEEA}" type="pres">
      <dgm:prSet presAssocID="{C0246130-88E9-40DF-B15E-2985125236E7}" presName="negativeSpace" presStyleCnt="0"/>
      <dgm:spPr/>
    </dgm:pt>
    <dgm:pt modelId="{4241D00A-D288-4E16-94F6-2A102F5990FD}" type="pres">
      <dgm:prSet presAssocID="{C0246130-88E9-40DF-B15E-2985125236E7}" presName="childText" presStyleLbl="conFgAcc1" presStyleIdx="0" presStyleCnt="2">
        <dgm:presLayoutVars>
          <dgm:bulletEnabled val="1"/>
        </dgm:presLayoutVars>
      </dgm:prSet>
      <dgm:spPr/>
    </dgm:pt>
    <dgm:pt modelId="{4F7BAC8E-AB0F-4AC2-8D3E-06040EC94E6A}" type="pres">
      <dgm:prSet presAssocID="{D8AD631C-6FC9-4541-B8F8-528238D4FD80}" presName="spaceBetweenRectangles" presStyleCnt="0"/>
      <dgm:spPr/>
    </dgm:pt>
    <dgm:pt modelId="{EF888A4F-0B63-4BFF-A7BD-B1C7E83B7624}" type="pres">
      <dgm:prSet presAssocID="{4D138C8F-BF97-44E7-9AB4-FE71648A6A7C}" presName="parentLin" presStyleCnt="0"/>
      <dgm:spPr/>
    </dgm:pt>
    <dgm:pt modelId="{E2228B5C-548D-4E29-B0C6-865911F29BC6}" type="pres">
      <dgm:prSet presAssocID="{4D138C8F-BF97-44E7-9AB4-FE71648A6A7C}" presName="parentLeftMargin" presStyleLbl="node1" presStyleIdx="0" presStyleCnt="2"/>
      <dgm:spPr/>
    </dgm:pt>
    <dgm:pt modelId="{AE85F4D9-9F54-4728-B564-4A61A19BA36B}" type="pres">
      <dgm:prSet presAssocID="{4D138C8F-BF97-44E7-9AB4-FE71648A6A7C}" presName="parentText" presStyleLbl="node1" presStyleIdx="1" presStyleCnt="2">
        <dgm:presLayoutVars>
          <dgm:chMax val="0"/>
          <dgm:bulletEnabled val="1"/>
        </dgm:presLayoutVars>
      </dgm:prSet>
      <dgm:spPr/>
    </dgm:pt>
    <dgm:pt modelId="{5FCA6A8E-7DED-4012-9AF2-A1AA68631DCC}" type="pres">
      <dgm:prSet presAssocID="{4D138C8F-BF97-44E7-9AB4-FE71648A6A7C}" presName="negativeSpace" presStyleCnt="0"/>
      <dgm:spPr/>
    </dgm:pt>
    <dgm:pt modelId="{33EB10B5-27A6-4310-A97F-097E17E04C53}" type="pres">
      <dgm:prSet presAssocID="{4D138C8F-BF97-44E7-9AB4-FE71648A6A7C}" presName="childText" presStyleLbl="conFgAcc1" presStyleIdx="1" presStyleCnt="2">
        <dgm:presLayoutVars>
          <dgm:bulletEnabled val="1"/>
        </dgm:presLayoutVars>
      </dgm:prSet>
      <dgm:spPr/>
    </dgm:pt>
  </dgm:ptLst>
  <dgm:cxnLst>
    <dgm:cxn modelId="{FC398B03-DA3C-4D06-B20A-3F1C05A2D128}" type="presOf" srcId="{4D138C8F-BF97-44E7-9AB4-FE71648A6A7C}" destId="{E2228B5C-548D-4E29-B0C6-865911F29BC6}" srcOrd="0" destOrd="0" presId="urn:microsoft.com/office/officeart/2005/8/layout/list1"/>
    <dgm:cxn modelId="{7833F824-08F8-4D80-9F92-46615E392963}" type="presOf" srcId="{C0246130-88E9-40DF-B15E-2985125236E7}" destId="{08CBAE86-71EC-4371-AA4D-422E2AD7526F}" srcOrd="1" destOrd="0" presId="urn:microsoft.com/office/officeart/2005/8/layout/list1"/>
    <dgm:cxn modelId="{A4C09048-4946-4B16-9981-217A559EC229}" srcId="{966FFBA3-9E4B-4D14-A9A2-C83E333CF336}" destId="{C0246130-88E9-40DF-B15E-2985125236E7}" srcOrd="0" destOrd="0" parTransId="{135D36EB-75CB-4402-B4DA-B5683F430B25}" sibTransId="{D8AD631C-6FC9-4541-B8F8-528238D4FD80}"/>
    <dgm:cxn modelId="{AE87ED49-0655-4890-9AD8-2C7D17F60147}" type="presOf" srcId="{848D320E-BD7C-469A-9D10-BC164B14C884}" destId="{33EB10B5-27A6-4310-A97F-097E17E04C53}" srcOrd="0" destOrd="1" presId="urn:microsoft.com/office/officeart/2005/8/layout/list1"/>
    <dgm:cxn modelId="{45615F77-7FBB-4C49-8A6B-F70FD032ED9D}" srcId="{C0246130-88E9-40DF-B15E-2985125236E7}" destId="{F82D978C-C44E-42AF-A1D3-D084F06FF54A}" srcOrd="0" destOrd="0" parTransId="{8831165A-8BCD-46BD-A3FB-5636E7E02928}" sibTransId="{DCD30A18-23A0-4D24-9397-7DFE1D0945FC}"/>
    <dgm:cxn modelId="{A6B0727D-AD0C-46F0-8BCF-9DF4F7F639D8}" type="presOf" srcId="{4D138C8F-BF97-44E7-9AB4-FE71648A6A7C}" destId="{AE85F4D9-9F54-4728-B564-4A61A19BA36B}" srcOrd="1" destOrd="0" presId="urn:microsoft.com/office/officeart/2005/8/layout/list1"/>
    <dgm:cxn modelId="{717ED67F-BB04-4EA4-B097-718C70EC32B2}" type="presOf" srcId="{6101A623-CE4A-4880-BB58-FA642A28B501}" destId="{4241D00A-D288-4E16-94F6-2A102F5990FD}" srcOrd="0" destOrd="1" presId="urn:microsoft.com/office/officeart/2005/8/layout/list1"/>
    <dgm:cxn modelId="{C5F9DF86-E052-4287-ACEE-0AE8F119ED26}" srcId="{C0246130-88E9-40DF-B15E-2985125236E7}" destId="{6101A623-CE4A-4880-BB58-FA642A28B501}" srcOrd="1" destOrd="0" parTransId="{614BA8AB-11E5-4698-B805-0406827B74C0}" sibTransId="{950B373C-1EA6-4853-A044-0228672225F8}"/>
    <dgm:cxn modelId="{635BBF8C-41B2-4EBE-9E16-2CDB756E4B02}" type="presOf" srcId="{C0246130-88E9-40DF-B15E-2985125236E7}" destId="{7A052BF5-8C45-47A3-BFE6-C351A51FFECB}" srcOrd="0" destOrd="0" presId="urn:microsoft.com/office/officeart/2005/8/layout/list1"/>
    <dgm:cxn modelId="{8D47158E-4B59-4EFE-9001-F2B9A67589A5}" type="presOf" srcId="{3EF78A25-96A8-4856-ADB1-EFC0442248BD}" destId="{33EB10B5-27A6-4310-A97F-097E17E04C53}" srcOrd="0" destOrd="0" presId="urn:microsoft.com/office/officeart/2005/8/layout/list1"/>
    <dgm:cxn modelId="{822A368E-1EEC-480D-91E5-C9D98786D549}" srcId="{4D138C8F-BF97-44E7-9AB4-FE71648A6A7C}" destId="{848D320E-BD7C-469A-9D10-BC164B14C884}" srcOrd="1" destOrd="0" parTransId="{318EB6DF-2B61-449B-A624-45B87F885630}" sibTransId="{87F48C94-4D88-4DD2-99C5-A515F78725D6}"/>
    <dgm:cxn modelId="{2F474098-C42C-4429-8381-5E73D821A128}" srcId="{4D138C8F-BF97-44E7-9AB4-FE71648A6A7C}" destId="{C23EBDD8-7D89-4E7A-B5D1-A32C0052A669}" srcOrd="2" destOrd="0" parTransId="{32EA1D02-E628-4A7F-8F0B-F73BD08DE4BE}" sibTransId="{C1E840BE-D301-442B-8099-68AC83D16E58}"/>
    <dgm:cxn modelId="{2065A49B-D0C8-4C26-B81C-773899FD3E59}" type="presOf" srcId="{F82D978C-C44E-42AF-A1D3-D084F06FF54A}" destId="{4241D00A-D288-4E16-94F6-2A102F5990FD}" srcOrd="0" destOrd="0" presId="urn:microsoft.com/office/officeart/2005/8/layout/list1"/>
    <dgm:cxn modelId="{B94B68B8-E69E-4446-9D6B-67FDDB4BC43E}" srcId="{966FFBA3-9E4B-4D14-A9A2-C83E333CF336}" destId="{4D138C8F-BF97-44E7-9AB4-FE71648A6A7C}" srcOrd="1" destOrd="0" parTransId="{E2A23D74-069C-4317-9A07-508EDB44A13A}" sibTransId="{45898CFE-7289-4E4B-BAB8-A5832D239DEA}"/>
    <dgm:cxn modelId="{66AC79C7-F8BB-48B4-9DD4-507419910A76}" type="presOf" srcId="{966FFBA3-9E4B-4D14-A9A2-C83E333CF336}" destId="{7EAC8345-7D49-44A8-B63F-9D4D52124A65}" srcOrd="0" destOrd="0" presId="urn:microsoft.com/office/officeart/2005/8/layout/list1"/>
    <dgm:cxn modelId="{E187ABDA-69C1-4EA0-9282-EA0166EE093A}" srcId="{4D138C8F-BF97-44E7-9AB4-FE71648A6A7C}" destId="{3EF78A25-96A8-4856-ADB1-EFC0442248BD}" srcOrd="0" destOrd="0" parTransId="{8F4281B2-2884-4698-9257-605597CF7839}" sibTransId="{B8EF057A-08C5-47D6-9456-DD20A960B176}"/>
    <dgm:cxn modelId="{FBEAE7DE-43A5-45D7-A205-A81ED94459A8}" type="presOf" srcId="{C23EBDD8-7D89-4E7A-B5D1-A32C0052A669}" destId="{33EB10B5-27A6-4310-A97F-097E17E04C53}" srcOrd="0" destOrd="2" presId="urn:microsoft.com/office/officeart/2005/8/layout/list1"/>
    <dgm:cxn modelId="{5C76F716-68C0-4F33-98C6-092BAC5F02BC}" type="presParOf" srcId="{7EAC8345-7D49-44A8-B63F-9D4D52124A65}" destId="{99DDEC67-1F2E-4A2A-BB06-C2EC05EB5601}" srcOrd="0" destOrd="0" presId="urn:microsoft.com/office/officeart/2005/8/layout/list1"/>
    <dgm:cxn modelId="{DEA31D2B-A490-408C-9537-668B051FE9E0}" type="presParOf" srcId="{99DDEC67-1F2E-4A2A-BB06-C2EC05EB5601}" destId="{7A052BF5-8C45-47A3-BFE6-C351A51FFECB}" srcOrd="0" destOrd="0" presId="urn:microsoft.com/office/officeart/2005/8/layout/list1"/>
    <dgm:cxn modelId="{21113BA2-7FAB-464D-A607-7DD86E28AAC0}" type="presParOf" srcId="{99DDEC67-1F2E-4A2A-BB06-C2EC05EB5601}" destId="{08CBAE86-71EC-4371-AA4D-422E2AD7526F}" srcOrd="1" destOrd="0" presId="urn:microsoft.com/office/officeart/2005/8/layout/list1"/>
    <dgm:cxn modelId="{C39B02C4-A379-4297-904D-4153D756840D}" type="presParOf" srcId="{7EAC8345-7D49-44A8-B63F-9D4D52124A65}" destId="{26546522-22AC-4972-A163-D60607DBAEEA}" srcOrd="1" destOrd="0" presId="urn:microsoft.com/office/officeart/2005/8/layout/list1"/>
    <dgm:cxn modelId="{2EABACE9-499B-4261-BCC3-665095F7137D}" type="presParOf" srcId="{7EAC8345-7D49-44A8-B63F-9D4D52124A65}" destId="{4241D00A-D288-4E16-94F6-2A102F5990FD}" srcOrd="2" destOrd="0" presId="urn:microsoft.com/office/officeart/2005/8/layout/list1"/>
    <dgm:cxn modelId="{9662B669-F97B-469E-BD57-69C59CAEE4F6}" type="presParOf" srcId="{7EAC8345-7D49-44A8-B63F-9D4D52124A65}" destId="{4F7BAC8E-AB0F-4AC2-8D3E-06040EC94E6A}" srcOrd="3" destOrd="0" presId="urn:microsoft.com/office/officeart/2005/8/layout/list1"/>
    <dgm:cxn modelId="{6C2A8BE0-0A7E-446C-8E7C-6C9845F37195}" type="presParOf" srcId="{7EAC8345-7D49-44A8-B63F-9D4D52124A65}" destId="{EF888A4F-0B63-4BFF-A7BD-B1C7E83B7624}" srcOrd="4" destOrd="0" presId="urn:microsoft.com/office/officeart/2005/8/layout/list1"/>
    <dgm:cxn modelId="{32D0A00A-1297-40B9-8734-6B991795F474}" type="presParOf" srcId="{EF888A4F-0B63-4BFF-A7BD-B1C7E83B7624}" destId="{E2228B5C-548D-4E29-B0C6-865911F29BC6}" srcOrd="0" destOrd="0" presId="urn:microsoft.com/office/officeart/2005/8/layout/list1"/>
    <dgm:cxn modelId="{BF763E20-5572-40FB-9DFF-26FCD937B581}" type="presParOf" srcId="{EF888A4F-0B63-4BFF-A7BD-B1C7E83B7624}" destId="{AE85F4D9-9F54-4728-B564-4A61A19BA36B}" srcOrd="1" destOrd="0" presId="urn:microsoft.com/office/officeart/2005/8/layout/list1"/>
    <dgm:cxn modelId="{784EF223-1651-4DEC-8057-8A1CF1AE44DD}" type="presParOf" srcId="{7EAC8345-7D49-44A8-B63F-9D4D52124A65}" destId="{5FCA6A8E-7DED-4012-9AF2-A1AA68631DCC}" srcOrd="5" destOrd="0" presId="urn:microsoft.com/office/officeart/2005/8/layout/list1"/>
    <dgm:cxn modelId="{7EA28FF5-99EE-4F30-A456-7E4FEDE3E8F8}" type="presParOf" srcId="{7EAC8345-7D49-44A8-B63F-9D4D52124A65}" destId="{33EB10B5-27A6-4310-A97F-097E17E04C53}"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E22B1E-30E5-44A6-A8ED-9D4A53339A2C}">
      <dsp:nvSpPr>
        <dsp:cNvPr id="0" name=""/>
        <dsp:cNvSpPr/>
      </dsp:nvSpPr>
      <dsp:spPr>
        <a:xfrm>
          <a:off x="0" y="2720"/>
          <a:ext cx="6089650"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906BF938-7D50-46C2-AB43-50BE671DEB4C}">
      <dsp:nvSpPr>
        <dsp:cNvPr id="0" name=""/>
        <dsp:cNvSpPr/>
      </dsp:nvSpPr>
      <dsp:spPr>
        <a:xfrm>
          <a:off x="0" y="2720"/>
          <a:ext cx="6089650"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dirty="0"/>
            <a:t>Improve the performance for customers and partners accessing the </a:t>
          </a:r>
          <a:r>
            <a:rPr lang="en-US" sz="1800" b="0" i="0" kern="1200" baseline="0" dirty="0" err="1"/>
            <a:t>Fastcar</a:t>
          </a:r>
          <a:r>
            <a:rPr lang="en-US" sz="1800" b="0" i="0" kern="1200" baseline="0" dirty="0"/>
            <a:t> Racing Inc. websites around the world</a:t>
          </a:r>
          <a:endParaRPr lang="en-US" sz="1800" kern="1200" dirty="0"/>
        </a:p>
      </dsp:txBody>
      <dsp:txXfrm>
        <a:off x="0" y="2720"/>
        <a:ext cx="6089650" cy="927780"/>
      </dsp:txXfrm>
    </dsp:sp>
    <dsp:sp modelId="{F0CC488C-2709-45BC-9625-8BC73D0BBBE2}">
      <dsp:nvSpPr>
        <dsp:cNvPr id="0" name=""/>
        <dsp:cNvSpPr/>
      </dsp:nvSpPr>
      <dsp:spPr>
        <a:xfrm>
          <a:off x="0" y="930501"/>
          <a:ext cx="6089650"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FC03672B-8F49-4224-A928-C6953BC27EB0}">
      <dsp:nvSpPr>
        <dsp:cNvPr id="0" name=""/>
        <dsp:cNvSpPr/>
      </dsp:nvSpPr>
      <dsp:spPr>
        <a:xfrm>
          <a:off x="0" y="930501"/>
          <a:ext cx="6089650"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Support for easily provisioning resources to meet bursts of demand</a:t>
          </a:r>
          <a:endParaRPr lang="en-US" sz="1800" kern="1200"/>
        </a:p>
      </dsp:txBody>
      <dsp:txXfrm>
        <a:off x="0" y="930501"/>
        <a:ext cx="6089650" cy="927780"/>
      </dsp:txXfrm>
    </dsp:sp>
    <dsp:sp modelId="{B9F21236-41A9-4517-8438-E7BE35B8A3F5}">
      <dsp:nvSpPr>
        <dsp:cNvPr id="0" name=""/>
        <dsp:cNvSpPr/>
      </dsp:nvSpPr>
      <dsp:spPr>
        <a:xfrm>
          <a:off x="0" y="1858281"/>
          <a:ext cx="6089650"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5819BFFA-7F30-4242-A22A-5E62DEA21C70}">
      <dsp:nvSpPr>
        <dsp:cNvPr id="0" name=""/>
        <dsp:cNvSpPr/>
      </dsp:nvSpPr>
      <dsp:spPr>
        <a:xfrm>
          <a:off x="0" y="1858281"/>
          <a:ext cx="6089650"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Consolidate and improve the utilization of website and database hosting resources  </a:t>
          </a:r>
          <a:endParaRPr lang="en-US" sz="1800" kern="1200"/>
        </a:p>
      </dsp:txBody>
      <dsp:txXfrm>
        <a:off x="0" y="1858281"/>
        <a:ext cx="6089650" cy="927780"/>
      </dsp:txXfrm>
    </dsp:sp>
    <dsp:sp modelId="{D9EBEED3-3AB6-453A-8A37-956A51BA921A}">
      <dsp:nvSpPr>
        <dsp:cNvPr id="0" name=""/>
        <dsp:cNvSpPr/>
      </dsp:nvSpPr>
      <dsp:spPr>
        <a:xfrm>
          <a:off x="0" y="2786062"/>
          <a:ext cx="6089650"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7649B3E4-BAFE-4AA7-817C-397FA673C53B}">
      <dsp:nvSpPr>
        <dsp:cNvPr id="0" name=""/>
        <dsp:cNvSpPr/>
      </dsp:nvSpPr>
      <dsp:spPr>
        <a:xfrm>
          <a:off x="0" y="2786062"/>
          <a:ext cx="6089650"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For their most demanding databases, they want to migrate without having to re-architect their database structure or make large changes the application</a:t>
          </a:r>
          <a:endParaRPr lang="en-US" sz="1800" kern="1200"/>
        </a:p>
      </dsp:txBody>
      <dsp:txXfrm>
        <a:off x="0" y="2786062"/>
        <a:ext cx="6089650" cy="927780"/>
      </dsp:txXfrm>
    </dsp:sp>
    <dsp:sp modelId="{3164741E-8836-4B8D-B90B-60BB76A8CA45}">
      <dsp:nvSpPr>
        <dsp:cNvPr id="0" name=""/>
        <dsp:cNvSpPr/>
      </dsp:nvSpPr>
      <dsp:spPr>
        <a:xfrm>
          <a:off x="0" y="3713843"/>
          <a:ext cx="6089650"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EFE2825B-C496-470A-B0CC-75DE04B4517A}">
      <dsp:nvSpPr>
        <dsp:cNvPr id="0" name=""/>
        <dsp:cNvSpPr/>
      </dsp:nvSpPr>
      <dsp:spPr>
        <a:xfrm>
          <a:off x="0" y="3713843"/>
          <a:ext cx="6089650"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dirty="0"/>
            <a:t>Avoid downtime, particularly caused by web and database server patching</a:t>
          </a:r>
          <a:endParaRPr lang="en-US" sz="1800" kern="1200" dirty="0"/>
        </a:p>
      </dsp:txBody>
      <dsp:txXfrm>
        <a:off x="0" y="3713843"/>
        <a:ext cx="6089650" cy="927780"/>
      </dsp:txXfrm>
    </dsp:sp>
    <dsp:sp modelId="{62F21943-E310-4ECC-A9C6-86916F7BAF74}">
      <dsp:nvSpPr>
        <dsp:cNvPr id="0" name=""/>
        <dsp:cNvSpPr/>
      </dsp:nvSpPr>
      <dsp:spPr>
        <a:xfrm>
          <a:off x="0" y="4641623"/>
          <a:ext cx="6089650" cy="0"/>
        </a:xfrm>
        <a:prstGeom prst="line">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321A1979-4634-4732-B19F-DD07C6A92379}">
      <dsp:nvSpPr>
        <dsp:cNvPr id="0" name=""/>
        <dsp:cNvSpPr/>
      </dsp:nvSpPr>
      <dsp:spPr>
        <a:xfrm>
          <a:off x="0" y="4641623"/>
          <a:ext cx="6089650"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Leverage familiarity with Microsoft tools</a:t>
          </a:r>
          <a:endParaRPr lang="en-US" sz="1800" kern="1200"/>
        </a:p>
      </dsp:txBody>
      <dsp:txXfrm>
        <a:off x="0" y="4641623"/>
        <a:ext cx="6089650" cy="9277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3DE7E9-9700-4EFE-BB6D-1DA3878D7B54}">
      <dsp:nvSpPr>
        <dsp:cNvPr id="0" name=""/>
        <dsp:cNvSpPr/>
      </dsp:nvSpPr>
      <dsp:spPr>
        <a:xfrm>
          <a:off x="1217930" y="489"/>
          <a:ext cx="4871720" cy="2704439"/>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94525" tIns="686928" rIns="94525" bIns="686928" numCol="1" spcCol="1270" anchor="ctr" anchorCtr="0">
          <a:noAutofit/>
        </a:bodyPr>
        <a:lstStyle/>
        <a:p>
          <a:pPr marL="0" lvl="0" indent="0" algn="l" defTabSz="577850">
            <a:lnSpc>
              <a:spcPct val="90000"/>
            </a:lnSpc>
            <a:spcBef>
              <a:spcPct val="0"/>
            </a:spcBef>
            <a:spcAft>
              <a:spcPct val="35000"/>
            </a:spcAft>
            <a:buNone/>
          </a:pPr>
          <a:r>
            <a:rPr lang="en-US" sz="1300" b="0" i="0" kern="1200" baseline="0"/>
            <a:t>Will we need to learn new tools to develop for Azure Websites and SQL Database?</a:t>
          </a:r>
          <a:endParaRPr lang="en-US" sz="1300" kern="1200"/>
        </a:p>
        <a:p>
          <a:pPr marL="0" lvl="0" indent="0" algn="l" defTabSz="577850">
            <a:lnSpc>
              <a:spcPct val="90000"/>
            </a:lnSpc>
            <a:spcBef>
              <a:spcPct val="0"/>
            </a:spcBef>
            <a:spcAft>
              <a:spcPct val="35000"/>
            </a:spcAft>
            <a:buNone/>
          </a:pPr>
          <a:r>
            <a:rPr lang="en-US" sz="1300" b="0" i="0" kern="1200" baseline="0"/>
            <a:t>What about diagnosing problems? Are there new tools we need purchase and learn?</a:t>
          </a:r>
          <a:endParaRPr lang="en-US" sz="1300" kern="1200"/>
        </a:p>
      </dsp:txBody>
      <dsp:txXfrm>
        <a:off x="1217930" y="489"/>
        <a:ext cx="4871720" cy="2704439"/>
      </dsp:txXfrm>
    </dsp:sp>
    <dsp:sp modelId="{6FD4B4DD-DFE2-4ACD-8757-E1ED25E9733C}">
      <dsp:nvSpPr>
        <dsp:cNvPr id="0" name=""/>
        <dsp:cNvSpPr/>
      </dsp:nvSpPr>
      <dsp:spPr>
        <a:xfrm>
          <a:off x="0" y="489"/>
          <a:ext cx="1217930" cy="2704439"/>
        </a:xfrm>
        <a:prstGeom prst="rect">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449" tIns="267139" rIns="64449" bIns="267139" numCol="1" spcCol="1270" anchor="ctr" anchorCtr="0">
          <a:noAutofit/>
        </a:bodyPr>
        <a:lstStyle/>
        <a:p>
          <a:pPr marL="0" lvl="0" indent="0" algn="ctr" defTabSz="711200">
            <a:lnSpc>
              <a:spcPct val="90000"/>
            </a:lnSpc>
            <a:spcBef>
              <a:spcPct val="0"/>
            </a:spcBef>
            <a:spcAft>
              <a:spcPct val="35000"/>
            </a:spcAft>
            <a:buNone/>
          </a:pPr>
          <a:r>
            <a:rPr lang="en-US" sz="1600" b="0" i="0" kern="1200" baseline="0"/>
            <a:t>Tool Familiarity:</a:t>
          </a:r>
          <a:endParaRPr lang="en-US" sz="1600" kern="1200"/>
        </a:p>
      </dsp:txBody>
      <dsp:txXfrm>
        <a:off x="0" y="489"/>
        <a:ext cx="1217930" cy="2704439"/>
      </dsp:txXfrm>
    </dsp:sp>
    <dsp:sp modelId="{4C87C104-C95A-4BEA-820D-EC26F87FC277}">
      <dsp:nvSpPr>
        <dsp:cNvPr id="0" name=""/>
        <dsp:cNvSpPr/>
      </dsp:nvSpPr>
      <dsp:spPr>
        <a:xfrm>
          <a:off x="1217930" y="2867195"/>
          <a:ext cx="4871720" cy="2704439"/>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94525" tIns="686928" rIns="94525" bIns="686928" numCol="1" spcCol="1270" anchor="ctr" anchorCtr="0">
          <a:noAutofit/>
        </a:bodyPr>
        <a:lstStyle/>
        <a:p>
          <a:pPr marL="0" lvl="0" indent="0" algn="l" defTabSz="577850">
            <a:lnSpc>
              <a:spcPct val="90000"/>
            </a:lnSpc>
            <a:spcBef>
              <a:spcPct val="0"/>
            </a:spcBef>
            <a:spcAft>
              <a:spcPct val="35000"/>
            </a:spcAft>
            <a:buNone/>
          </a:pPr>
          <a:r>
            <a:rPr lang="en-US" sz="1300" b="0" i="0" kern="1200" baseline="0"/>
            <a:t>Some of our enterprise web services need to access data and other services located on-premises, is this supported?</a:t>
          </a:r>
          <a:endParaRPr lang="en-US" sz="1300" kern="1200"/>
        </a:p>
        <a:p>
          <a:pPr marL="0" lvl="0" indent="0" algn="l" defTabSz="577850">
            <a:lnSpc>
              <a:spcPct val="90000"/>
            </a:lnSpc>
            <a:spcBef>
              <a:spcPct val="0"/>
            </a:spcBef>
            <a:spcAft>
              <a:spcPct val="35000"/>
            </a:spcAft>
            <a:buNone/>
          </a:pPr>
          <a:r>
            <a:rPr lang="en-US" sz="1300" b="0" i="0" kern="1200" baseline="0"/>
            <a:t>How can we ensure we are delivering the lowest latency possible to our website visitors?</a:t>
          </a:r>
          <a:endParaRPr lang="en-US" sz="1300" kern="1200"/>
        </a:p>
        <a:p>
          <a:pPr marL="0" lvl="0" indent="0" algn="l" defTabSz="577850">
            <a:lnSpc>
              <a:spcPct val="90000"/>
            </a:lnSpc>
            <a:spcBef>
              <a:spcPct val="0"/>
            </a:spcBef>
            <a:spcAft>
              <a:spcPct val="35000"/>
            </a:spcAft>
            <a:buNone/>
          </a:pPr>
          <a:r>
            <a:rPr lang="en-US" sz="1300" b="0" i="0" kern="1200" baseline="0"/>
            <a:t>We need to ensure that if we have multiple web servers backing a given website, that no one web server gets all the traffic</a:t>
          </a:r>
          <a:endParaRPr lang="en-US" sz="1300" kern="1200"/>
        </a:p>
      </dsp:txBody>
      <dsp:txXfrm>
        <a:off x="1217930" y="2867195"/>
        <a:ext cx="4871720" cy="2704439"/>
      </dsp:txXfrm>
    </dsp:sp>
    <dsp:sp modelId="{E141A7EA-FF82-4753-8040-2D6A68752DCC}">
      <dsp:nvSpPr>
        <dsp:cNvPr id="0" name=""/>
        <dsp:cNvSpPr/>
      </dsp:nvSpPr>
      <dsp:spPr>
        <a:xfrm>
          <a:off x="0" y="2867195"/>
          <a:ext cx="1217930" cy="2704439"/>
        </a:xfrm>
        <a:prstGeom prst="rect">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449" tIns="267139" rIns="64449" bIns="267139" numCol="1" spcCol="1270" anchor="ctr" anchorCtr="0">
          <a:noAutofit/>
        </a:bodyPr>
        <a:lstStyle/>
        <a:p>
          <a:pPr marL="0" lvl="0" indent="0" algn="ctr" defTabSz="711200">
            <a:lnSpc>
              <a:spcPct val="90000"/>
            </a:lnSpc>
            <a:spcBef>
              <a:spcPct val="0"/>
            </a:spcBef>
            <a:spcAft>
              <a:spcPct val="35000"/>
            </a:spcAft>
            <a:buNone/>
          </a:pPr>
          <a:r>
            <a:rPr lang="en-US" sz="1600" b="0" i="0" kern="1200" baseline="0"/>
            <a:t>Connectivity:</a:t>
          </a:r>
          <a:endParaRPr lang="en-US" sz="1600" kern="1200"/>
        </a:p>
      </dsp:txBody>
      <dsp:txXfrm>
        <a:off x="0" y="2867195"/>
        <a:ext cx="1217930" cy="27044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DFF4C5-90BD-4EF5-9F68-3E387C44E384}">
      <dsp:nvSpPr>
        <dsp:cNvPr id="0" name=""/>
        <dsp:cNvSpPr/>
      </dsp:nvSpPr>
      <dsp:spPr>
        <a:xfrm>
          <a:off x="0" y="552937"/>
          <a:ext cx="6269038" cy="2520000"/>
        </a:xfrm>
        <a:prstGeom prst="rect">
          <a:avLst/>
        </a:prstGeom>
        <a:solidFill>
          <a:schemeClr val="accent6">
            <a:alpha val="90000"/>
            <a:tint val="40000"/>
            <a:hueOff val="0"/>
            <a:satOff val="0"/>
            <a:lumOff val="0"/>
            <a:alphaOff val="0"/>
          </a:schemeClr>
        </a:solidFill>
        <a:ln w="6350" cap="flat" cmpd="sng" algn="ctr">
          <a:solidFill>
            <a:schemeClr val="accent6">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486547" tIns="520700" rIns="486547" bIns="177800" numCol="1" spcCol="1270" anchor="t" anchorCtr="0">
          <a:noAutofit/>
        </a:bodyPr>
        <a:lstStyle/>
        <a:p>
          <a:pPr marL="228600" lvl="1" indent="-228600" algn="l" defTabSz="1111250">
            <a:lnSpc>
              <a:spcPct val="90000"/>
            </a:lnSpc>
            <a:spcBef>
              <a:spcPct val="0"/>
            </a:spcBef>
            <a:spcAft>
              <a:spcPct val="15000"/>
            </a:spcAft>
            <a:buChar char="•"/>
          </a:pPr>
          <a:r>
            <a:rPr lang="en-US" sz="2500" b="0" i="0" kern="1200" baseline="0" dirty="0"/>
            <a:t>Can respond to requests and implement features much quicker than in the past</a:t>
          </a:r>
          <a:endParaRPr lang="en-US" sz="2500" kern="1200" dirty="0"/>
        </a:p>
        <a:p>
          <a:pPr marL="228600" lvl="1" indent="-228600" algn="l" defTabSz="1111250">
            <a:lnSpc>
              <a:spcPct val="90000"/>
            </a:lnSpc>
            <a:spcBef>
              <a:spcPct val="0"/>
            </a:spcBef>
            <a:spcAft>
              <a:spcPct val="15000"/>
            </a:spcAft>
            <a:buChar char="•"/>
          </a:pPr>
          <a:r>
            <a:rPr lang="en-US" sz="2500" b="0" i="0" kern="1200" baseline="0"/>
            <a:t>Easy to setup infrastructure in other geographies</a:t>
          </a:r>
          <a:endParaRPr lang="en-US" sz="2500" kern="1200"/>
        </a:p>
      </dsp:txBody>
      <dsp:txXfrm>
        <a:off x="0" y="552937"/>
        <a:ext cx="6269038" cy="2520000"/>
      </dsp:txXfrm>
    </dsp:sp>
    <dsp:sp modelId="{5A5597E2-9B6F-4F52-ADFB-443FEE98EDD5}">
      <dsp:nvSpPr>
        <dsp:cNvPr id="0" name=""/>
        <dsp:cNvSpPr/>
      </dsp:nvSpPr>
      <dsp:spPr>
        <a:xfrm>
          <a:off x="313451" y="183937"/>
          <a:ext cx="4388326" cy="738000"/>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65868" tIns="0" rIns="165868" bIns="0" numCol="1" spcCol="1270" anchor="ctr" anchorCtr="0">
          <a:noAutofit/>
        </a:bodyPr>
        <a:lstStyle/>
        <a:p>
          <a:pPr marL="0" lvl="0" indent="0" algn="l" defTabSz="1111250">
            <a:lnSpc>
              <a:spcPct val="90000"/>
            </a:lnSpc>
            <a:spcBef>
              <a:spcPct val="0"/>
            </a:spcBef>
            <a:spcAft>
              <a:spcPct val="35000"/>
            </a:spcAft>
            <a:buNone/>
          </a:pPr>
          <a:r>
            <a:rPr lang="en-US" sz="2500" b="0" i="0" kern="1200" baseline="0"/>
            <a:t>Scalability &amp; Agility:</a:t>
          </a:r>
          <a:endParaRPr lang="en-US" sz="2500" kern="1200"/>
        </a:p>
      </dsp:txBody>
      <dsp:txXfrm>
        <a:off x="349477" y="219963"/>
        <a:ext cx="4316274" cy="665948"/>
      </dsp:txXfrm>
    </dsp:sp>
    <dsp:sp modelId="{ED97A017-BBE7-4BA4-B1CE-963D67D2FA1E}">
      <dsp:nvSpPr>
        <dsp:cNvPr id="0" name=""/>
        <dsp:cNvSpPr/>
      </dsp:nvSpPr>
      <dsp:spPr>
        <a:xfrm>
          <a:off x="0" y="3576937"/>
          <a:ext cx="6269038" cy="1811250"/>
        </a:xfrm>
        <a:prstGeom prst="rect">
          <a:avLst/>
        </a:prstGeom>
        <a:solidFill>
          <a:schemeClr val="accent6">
            <a:alpha val="90000"/>
            <a:tint val="40000"/>
            <a:hueOff val="0"/>
            <a:satOff val="0"/>
            <a:lumOff val="0"/>
            <a:alphaOff val="0"/>
          </a:schemeClr>
        </a:solidFill>
        <a:ln w="6350" cap="flat" cmpd="sng" algn="ctr">
          <a:solidFill>
            <a:schemeClr val="accent6">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486547" tIns="520700" rIns="486547" bIns="177800" numCol="1" spcCol="1270" anchor="t" anchorCtr="0">
          <a:noAutofit/>
        </a:bodyPr>
        <a:lstStyle/>
        <a:p>
          <a:pPr marL="228600" lvl="1" indent="-228600" algn="l" defTabSz="1111250">
            <a:lnSpc>
              <a:spcPct val="90000"/>
            </a:lnSpc>
            <a:spcBef>
              <a:spcPct val="0"/>
            </a:spcBef>
            <a:spcAft>
              <a:spcPct val="15000"/>
            </a:spcAft>
            <a:buChar char="•"/>
          </a:pPr>
          <a:r>
            <a:rPr lang="en-US" sz="2500" b="0" i="0" kern="1200" baseline="0"/>
            <a:t>Avoid maintenance-related downtime</a:t>
          </a:r>
          <a:endParaRPr lang="en-US" sz="2500" kern="1200"/>
        </a:p>
        <a:p>
          <a:pPr marL="228600" lvl="1" indent="-228600" algn="l" defTabSz="1111250">
            <a:lnSpc>
              <a:spcPct val="90000"/>
            </a:lnSpc>
            <a:spcBef>
              <a:spcPct val="0"/>
            </a:spcBef>
            <a:spcAft>
              <a:spcPct val="15000"/>
            </a:spcAft>
            <a:buChar char="•"/>
          </a:pPr>
          <a:r>
            <a:rPr lang="en-US" sz="2500" b="0" i="0" kern="1200" baseline="0"/>
            <a:t>Update regional servers in isolation from other global locations/offices</a:t>
          </a:r>
          <a:endParaRPr lang="en-US" sz="2500" kern="1200"/>
        </a:p>
      </dsp:txBody>
      <dsp:txXfrm>
        <a:off x="0" y="3576937"/>
        <a:ext cx="6269038" cy="1811250"/>
      </dsp:txXfrm>
    </dsp:sp>
    <dsp:sp modelId="{BC19AF65-51F8-41AD-AF33-C8A4A6052CC2}">
      <dsp:nvSpPr>
        <dsp:cNvPr id="0" name=""/>
        <dsp:cNvSpPr/>
      </dsp:nvSpPr>
      <dsp:spPr>
        <a:xfrm>
          <a:off x="313451" y="3207937"/>
          <a:ext cx="4388326" cy="738000"/>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65868" tIns="0" rIns="165868" bIns="0" numCol="1" spcCol="1270" anchor="ctr" anchorCtr="0">
          <a:noAutofit/>
        </a:bodyPr>
        <a:lstStyle/>
        <a:p>
          <a:pPr marL="0" lvl="0" indent="0" algn="l" defTabSz="1111250">
            <a:lnSpc>
              <a:spcPct val="90000"/>
            </a:lnSpc>
            <a:spcBef>
              <a:spcPct val="0"/>
            </a:spcBef>
            <a:spcAft>
              <a:spcPct val="35000"/>
            </a:spcAft>
            <a:buNone/>
          </a:pPr>
          <a:r>
            <a:rPr lang="en-US" sz="2500" b="0" i="0" kern="1200" baseline="0"/>
            <a:t>Performance &amp; Availability:</a:t>
          </a:r>
          <a:endParaRPr lang="en-US" sz="2500" kern="1200"/>
        </a:p>
      </dsp:txBody>
      <dsp:txXfrm>
        <a:off x="349477" y="3243963"/>
        <a:ext cx="4316274"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101854-AB72-4689-9A4A-1B26A763BA87}">
      <dsp:nvSpPr>
        <dsp:cNvPr id="0" name=""/>
        <dsp:cNvSpPr/>
      </dsp:nvSpPr>
      <dsp:spPr>
        <a:xfrm>
          <a:off x="0" y="2720"/>
          <a:ext cx="6269038"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F28967E6-6D19-4FC7-8AAE-5EFFA56356E1}">
      <dsp:nvSpPr>
        <dsp:cNvPr id="0" name=""/>
        <dsp:cNvSpPr/>
      </dsp:nvSpPr>
      <dsp:spPr>
        <a:xfrm>
          <a:off x="0" y="2720"/>
          <a:ext cx="6269038"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dirty="0"/>
            <a:t>Improve the performance for customers and partners accessing the </a:t>
          </a:r>
          <a:r>
            <a:rPr lang="en-US" sz="1800" b="0" i="0" kern="1200" baseline="0" dirty="0" err="1"/>
            <a:t>Fastcar</a:t>
          </a:r>
          <a:r>
            <a:rPr lang="en-US" sz="1800" b="0" i="0" kern="1200" baseline="0" dirty="0"/>
            <a:t> Racing Inc. websites around the world</a:t>
          </a:r>
          <a:endParaRPr lang="en-US" sz="1800" kern="1200" dirty="0"/>
        </a:p>
      </dsp:txBody>
      <dsp:txXfrm>
        <a:off x="0" y="2720"/>
        <a:ext cx="6269038" cy="927780"/>
      </dsp:txXfrm>
    </dsp:sp>
    <dsp:sp modelId="{788FA50E-83EC-4ED0-B5DE-1B491A188FF5}">
      <dsp:nvSpPr>
        <dsp:cNvPr id="0" name=""/>
        <dsp:cNvSpPr/>
      </dsp:nvSpPr>
      <dsp:spPr>
        <a:xfrm>
          <a:off x="0" y="930501"/>
          <a:ext cx="6269038"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B8256A1C-4938-4264-8AB3-E94E81006F95}">
      <dsp:nvSpPr>
        <dsp:cNvPr id="0" name=""/>
        <dsp:cNvSpPr/>
      </dsp:nvSpPr>
      <dsp:spPr>
        <a:xfrm>
          <a:off x="0" y="930501"/>
          <a:ext cx="6269038"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Support for easily provisioning resources to meet bursts of demand</a:t>
          </a:r>
          <a:endParaRPr lang="en-US" sz="1800" kern="1200"/>
        </a:p>
      </dsp:txBody>
      <dsp:txXfrm>
        <a:off x="0" y="930501"/>
        <a:ext cx="6269038" cy="927780"/>
      </dsp:txXfrm>
    </dsp:sp>
    <dsp:sp modelId="{A8A5539B-6C86-453F-970C-D92D77A262A4}">
      <dsp:nvSpPr>
        <dsp:cNvPr id="0" name=""/>
        <dsp:cNvSpPr/>
      </dsp:nvSpPr>
      <dsp:spPr>
        <a:xfrm>
          <a:off x="0" y="1858281"/>
          <a:ext cx="6269038"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D856A0E3-D15C-4D2A-8006-55C5D015B85E}">
      <dsp:nvSpPr>
        <dsp:cNvPr id="0" name=""/>
        <dsp:cNvSpPr/>
      </dsp:nvSpPr>
      <dsp:spPr>
        <a:xfrm>
          <a:off x="0" y="1858281"/>
          <a:ext cx="6269038"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Consolidate and improve the utilization of website and database hosting resources  </a:t>
          </a:r>
          <a:endParaRPr lang="en-US" sz="1800" kern="1200"/>
        </a:p>
      </dsp:txBody>
      <dsp:txXfrm>
        <a:off x="0" y="1858281"/>
        <a:ext cx="6269038" cy="927780"/>
      </dsp:txXfrm>
    </dsp:sp>
    <dsp:sp modelId="{5B4D00C7-7F03-4A23-A895-92A74394E386}">
      <dsp:nvSpPr>
        <dsp:cNvPr id="0" name=""/>
        <dsp:cNvSpPr/>
      </dsp:nvSpPr>
      <dsp:spPr>
        <a:xfrm>
          <a:off x="0" y="2786062"/>
          <a:ext cx="6269038"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4A38B823-B20F-4D5B-88FE-F6A2482B4F80}">
      <dsp:nvSpPr>
        <dsp:cNvPr id="0" name=""/>
        <dsp:cNvSpPr/>
      </dsp:nvSpPr>
      <dsp:spPr>
        <a:xfrm>
          <a:off x="0" y="2786062"/>
          <a:ext cx="6269038"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For their most demanding databases, they want to migrate without having to re-architect their database structure or make large changes the application</a:t>
          </a:r>
          <a:endParaRPr lang="en-US" sz="1800" kern="1200"/>
        </a:p>
      </dsp:txBody>
      <dsp:txXfrm>
        <a:off x="0" y="2786062"/>
        <a:ext cx="6269038" cy="927780"/>
      </dsp:txXfrm>
    </dsp:sp>
    <dsp:sp modelId="{A9A8A993-599A-4017-BCDB-34F1E18AFF88}">
      <dsp:nvSpPr>
        <dsp:cNvPr id="0" name=""/>
        <dsp:cNvSpPr/>
      </dsp:nvSpPr>
      <dsp:spPr>
        <a:xfrm>
          <a:off x="0" y="3713843"/>
          <a:ext cx="6269038"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F4FB256E-DE44-4D26-99F9-ADB74B5E4682}">
      <dsp:nvSpPr>
        <dsp:cNvPr id="0" name=""/>
        <dsp:cNvSpPr/>
      </dsp:nvSpPr>
      <dsp:spPr>
        <a:xfrm>
          <a:off x="0" y="3713843"/>
          <a:ext cx="6269038"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Avoid downtime, particularly that caused by web and database server patching</a:t>
          </a:r>
          <a:endParaRPr lang="en-US" sz="1800" kern="1200"/>
        </a:p>
      </dsp:txBody>
      <dsp:txXfrm>
        <a:off x="0" y="3713843"/>
        <a:ext cx="6269038" cy="927780"/>
      </dsp:txXfrm>
    </dsp:sp>
    <dsp:sp modelId="{BF6DD785-4135-4329-85E7-E81633BDB707}">
      <dsp:nvSpPr>
        <dsp:cNvPr id="0" name=""/>
        <dsp:cNvSpPr/>
      </dsp:nvSpPr>
      <dsp:spPr>
        <a:xfrm>
          <a:off x="0" y="4641623"/>
          <a:ext cx="6269038"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59757060-4438-4473-88CF-5209CF7F7BF1}">
      <dsp:nvSpPr>
        <dsp:cNvPr id="0" name=""/>
        <dsp:cNvSpPr/>
      </dsp:nvSpPr>
      <dsp:spPr>
        <a:xfrm>
          <a:off x="0" y="4641623"/>
          <a:ext cx="6269038" cy="927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baseline="0"/>
            <a:t>Leverage familiarity with Microsoft tools</a:t>
          </a:r>
          <a:endParaRPr lang="en-US" sz="1800" kern="1200"/>
        </a:p>
      </dsp:txBody>
      <dsp:txXfrm>
        <a:off x="0" y="4641623"/>
        <a:ext cx="6269038" cy="9277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1D00A-D288-4E16-94F6-2A102F5990FD}">
      <dsp:nvSpPr>
        <dsp:cNvPr id="0" name=""/>
        <dsp:cNvSpPr/>
      </dsp:nvSpPr>
      <dsp:spPr>
        <a:xfrm>
          <a:off x="0" y="385650"/>
          <a:ext cx="6089650" cy="1645875"/>
        </a:xfrm>
        <a:prstGeom prst="rect">
          <a:avLst/>
        </a:prstGeom>
        <a:solidFill>
          <a:schemeClr val="accent6">
            <a:lumMod val="40000"/>
            <a:lumOff val="60000"/>
            <a:alpha val="9000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72625" tIns="395732" rIns="472625"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baseline="0" dirty="0"/>
            <a:t>Will we need to learn new tools to develop for Azure Websites and SQL Database? </a:t>
          </a:r>
          <a:r>
            <a:rPr lang="en-US" sz="1900" b="1" i="0" kern="1200" baseline="0" dirty="0"/>
            <a:t>NO</a:t>
          </a:r>
          <a:endParaRPr lang="en-US" sz="1900" b="1" kern="1200" dirty="0"/>
        </a:p>
        <a:p>
          <a:pPr marL="171450" lvl="1" indent="-171450" algn="l" defTabSz="844550">
            <a:lnSpc>
              <a:spcPct val="90000"/>
            </a:lnSpc>
            <a:spcBef>
              <a:spcPct val="0"/>
            </a:spcBef>
            <a:spcAft>
              <a:spcPct val="15000"/>
            </a:spcAft>
            <a:buChar char="•"/>
          </a:pPr>
          <a:r>
            <a:rPr lang="en-US" sz="1900" b="0" i="0" kern="1200" baseline="0" dirty="0"/>
            <a:t>What about diagnosing problems? Are there new tools we need purchase and learn? </a:t>
          </a:r>
          <a:r>
            <a:rPr lang="en-US" sz="1900" b="1" i="0" kern="1200" baseline="0" dirty="0"/>
            <a:t>Built-in</a:t>
          </a:r>
          <a:endParaRPr lang="en-US" sz="1900" kern="1200" dirty="0"/>
        </a:p>
      </dsp:txBody>
      <dsp:txXfrm>
        <a:off x="0" y="385650"/>
        <a:ext cx="6089650" cy="1645875"/>
      </dsp:txXfrm>
    </dsp:sp>
    <dsp:sp modelId="{08CBAE86-71EC-4371-AA4D-422E2AD7526F}">
      <dsp:nvSpPr>
        <dsp:cNvPr id="0" name=""/>
        <dsp:cNvSpPr/>
      </dsp:nvSpPr>
      <dsp:spPr>
        <a:xfrm>
          <a:off x="304482" y="105210"/>
          <a:ext cx="4262755" cy="560880"/>
        </a:xfrm>
        <a:prstGeom prst="round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1122" tIns="0" rIns="161122" bIns="0" numCol="1" spcCol="1270" anchor="ctr" anchorCtr="0">
          <a:noAutofit/>
        </a:bodyPr>
        <a:lstStyle/>
        <a:p>
          <a:pPr marL="0" lvl="0" indent="0" algn="l" defTabSz="844550">
            <a:lnSpc>
              <a:spcPct val="90000"/>
            </a:lnSpc>
            <a:spcBef>
              <a:spcPct val="0"/>
            </a:spcBef>
            <a:spcAft>
              <a:spcPct val="35000"/>
            </a:spcAft>
            <a:buNone/>
          </a:pPr>
          <a:r>
            <a:rPr lang="en-US" sz="1900" b="0" i="0" kern="1200" baseline="0"/>
            <a:t>Tool Familiarity:</a:t>
          </a:r>
          <a:endParaRPr lang="en-US" sz="1900" kern="1200"/>
        </a:p>
      </dsp:txBody>
      <dsp:txXfrm>
        <a:off x="331862" y="132590"/>
        <a:ext cx="4207995" cy="506120"/>
      </dsp:txXfrm>
    </dsp:sp>
    <dsp:sp modelId="{33EB10B5-27A6-4310-A97F-097E17E04C53}">
      <dsp:nvSpPr>
        <dsp:cNvPr id="0" name=""/>
        <dsp:cNvSpPr/>
      </dsp:nvSpPr>
      <dsp:spPr>
        <a:xfrm>
          <a:off x="0" y="2414565"/>
          <a:ext cx="6089650" cy="3052349"/>
        </a:xfrm>
        <a:prstGeom prst="rect">
          <a:avLst/>
        </a:prstGeom>
        <a:solidFill>
          <a:schemeClr val="accent6">
            <a:lumMod val="40000"/>
            <a:lumOff val="60000"/>
            <a:alpha val="90000"/>
          </a:schemeClr>
        </a:soli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72625" tIns="395732" rIns="472625"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baseline="0" dirty="0"/>
            <a:t>Some of our enterprise web services need to access data and other services located on-premises, is this supported? </a:t>
          </a:r>
          <a:r>
            <a:rPr lang="en-US" sz="1900" b="1" i="0" kern="1200" baseline="0" dirty="0"/>
            <a:t>VNET ROUTING</a:t>
          </a:r>
          <a:endParaRPr lang="en-US" sz="1900" kern="1200" dirty="0"/>
        </a:p>
        <a:p>
          <a:pPr marL="171450" lvl="1" indent="-171450" algn="l" defTabSz="844550">
            <a:lnSpc>
              <a:spcPct val="90000"/>
            </a:lnSpc>
            <a:spcBef>
              <a:spcPct val="0"/>
            </a:spcBef>
            <a:spcAft>
              <a:spcPct val="15000"/>
            </a:spcAft>
            <a:buChar char="•"/>
          </a:pPr>
          <a:r>
            <a:rPr lang="en-US" sz="1900" b="0" i="0" kern="1200" baseline="0" dirty="0"/>
            <a:t>How can we ensure we are delivering the lowest latency possible to our website visitors? </a:t>
          </a:r>
          <a:r>
            <a:rPr lang="en-US" sz="1900" b="1" i="0" kern="1200" baseline="0" dirty="0"/>
            <a:t>Traffic </a:t>
          </a:r>
          <a:r>
            <a:rPr lang="en-US" sz="1900" b="1" i="0" kern="1200" baseline="0" dirty="0" err="1"/>
            <a:t>Mgr</a:t>
          </a:r>
          <a:endParaRPr lang="en-US" sz="1900" kern="1200" dirty="0"/>
        </a:p>
        <a:p>
          <a:pPr marL="171450" lvl="1" indent="-171450" algn="l" defTabSz="844550">
            <a:lnSpc>
              <a:spcPct val="90000"/>
            </a:lnSpc>
            <a:spcBef>
              <a:spcPct val="0"/>
            </a:spcBef>
            <a:spcAft>
              <a:spcPct val="15000"/>
            </a:spcAft>
            <a:buChar char="•"/>
          </a:pPr>
          <a:r>
            <a:rPr lang="en-US" sz="1900" b="0" i="0" kern="1200" baseline="0" dirty="0"/>
            <a:t>We need to ensure that if we have multiple web servers backing a given website, that no one web server gets all the traffic </a:t>
          </a:r>
          <a:r>
            <a:rPr lang="en-US" sz="1900" b="1" i="0" kern="1200" baseline="0" dirty="0"/>
            <a:t>Web App Service Plans</a:t>
          </a:r>
          <a:endParaRPr lang="en-US" sz="1900" kern="1200" dirty="0"/>
        </a:p>
      </dsp:txBody>
      <dsp:txXfrm>
        <a:off x="0" y="2414565"/>
        <a:ext cx="6089650" cy="3052349"/>
      </dsp:txXfrm>
    </dsp:sp>
    <dsp:sp modelId="{AE85F4D9-9F54-4728-B564-4A61A19BA36B}">
      <dsp:nvSpPr>
        <dsp:cNvPr id="0" name=""/>
        <dsp:cNvSpPr/>
      </dsp:nvSpPr>
      <dsp:spPr>
        <a:xfrm>
          <a:off x="304482" y="2134125"/>
          <a:ext cx="4262755" cy="560880"/>
        </a:xfrm>
        <a:prstGeom prst="roundRect">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1122" tIns="0" rIns="161122" bIns="0" numCol="1" spcCol="1270" anchor="ctr" anchorCtr="0">
          <a:noAutofit/>
        </a:bodyPr>
        <a:lstStyle/>
        <a:p>
          <a:pPr marL="0" lvl="0" indent="0" algn="l" defTabSz="844550">
            <a:lnSpc>
              <a:spcPct val="90000"/>
            </a:lnSpc>
            <a:spcBef>
              <a:spcPct val="0"/>
            </a:spcBef>
            <a:spcAft>
              <a:spcPct val="35000"/>
            </a:spcAft>
            <a:buNone/>
          </a:pPr>
          <a:r>
            <a:rPr lang="en-US" sz="1900" b="0" i="0" kern="1200" baseline="0"/>
            <a:t>Connectivity:</a:t>
          </a:r>
          <a:endParaRPr lang="en-US" sz="1900" kern="1200"/>
        </a:p>
      </dsp:txBody>
      <dsp:txXfrm>
        <a:off x="331862" y="2161505"/>
        <a:ext cx="4207995" cy="50612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6/7/layout/VerticalHollowActionList">
  <dgm:title val="Vertical Hollow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solidFgAcc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FF048A-BCFE-4878-B97B-C4614AED5857}" type="datetimeFigureOut">
              <a:rPr lang="fr-BE" smtClean="0"/>
              <a:t>15-05-25</a:t>
            </a:fld>
            <a:endParaRPr lang="fr-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4AA59B-6A56-4BF8-9249-38980CAFE410}" type="slidenum">
              <a:rPr lang="fr-BE" smtClean="0"/>
              <a:t>‹#›</a:t>
            </a:fld>
            <a:endParaRPr lang="fr-BE"/>
          </a:p>
        </p:txBody>
      </p:sp>
    </p:spTree>
    <p:extLst>
      <p:ext uri="{BB962C8B-B14F-4D97-AF65-F5344CB8AC3E}">
        <p14:creationId xmlns:p14="http://schemas.microsoft.com/office/powerpoint/2010/main" val="4986087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210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723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4932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4F7D9E37-6ACB-4235-BE88-4ECB2C28F50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8EFEE674-E2A2-41EB-8BCC-45EEF08A84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870767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37CAFB53-E984-4361-A445-CB4824F05D9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AFE06922-1E01-4216-AEEE-60A3808CB55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1333937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732C4A70-4584-4337-87DB-928BC07C48F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26622C16-3F2A-4F8A-BA9E-63F8234802F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2979231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938021DC-7ED7-4FAC-85A3-C1350B4006B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F85CEBB4-A226-412D-9BFE-B456E0DF9BE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3164796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5DB42B52-8F99-4CA3-9C82-8B170CE4178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17C1478C-C52B-404E-B887-F7BFECFEE7A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39139718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84539EAD-C8A6-4FE9-A3E8-2176F43B6B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D428F752-15E5-427D-ACF8-20C537D307B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17644424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he PoC scenario would be to address the latency issue faced by resellers around the world that currently rely on to access the Utah datacenter. The PoC would address showing how by using Azure Traffic Manager along with Azure Web Sites in multiple regions, one can ensure that these users are always being routed to the Web Site that is “closest” to them in terms of minimizing network latency. The PoC could demonstrate this by provisioning a representative portion of the Product Catalog web application in an Azure Website, along with the storage required for it (e.g., Blob Storage, Table Storage and SQL Database) in the West US region, and then also provisioning the same infrastructure in the Japan West region. Traffic Manager would then be configured to route traffic using the Performance load balancing method. </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o complete the PoC, either Adventure Works staff or resellers located near each region could be asked to visit the PoC reseller web site, measure their experience (e.g., page load times, time to first paint, etc.) and report on the perceived performance (e.g., does it feel more responsive than the current sit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4F83C962-2EAA-417E-B31C-E9362B837B7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265ED190-6ACF-4E47-8071-32B6DDBE29F1}"/>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14044683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On the database side, the PoC should be augmented to use the SQL Database Premium tier. The PoC would address showing using SQL Database Premium along with Azure Web Sites in multiple regions, whereby one configures SQL Database Premium to provide Active Geo-Replication across two regions (West US and Japan West as examples). SQL Database Premium could be configured with the primary in the West US Region, and a readable replica available in the Japan West Region.</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By approaching it this way, the PoC could explore the benefits of accessing read-only data from the database nearest the Web Site, while reserving data modifications operations for the active primary database instance.</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To complete the PoC, Adventure Works could simulate a regional failure and switch to using the SQL Database in the Japan West region as the active primary. They could go one step further and stop the Web Sites in the West US region and thereby simulate a complete regional failure of the West US region. By having Traffic Manager in place, all traffic would flow to the Japan West Region, and the active database would be in that region as well.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10835BE3-441B-4981-B89E-07B59BBF8A3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85C7B880-2A72-464F-B530-9691DF53CA69}"/>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802184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0842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Improve Scalability and Agility</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Adventure Works has gained a level of IT scalability and agility that it never before had. </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Cowles’s team can respond much faster to requests for IT resources. “With Azure, we can respond to business requests in hours versus the months that it took before,” Cowles says. “It’s especially valuable in responding to requests in non-US regions, because it’s difficult to set up infrastructure in Carlsbad and provide remote access to those applications.”</a:t>
            </a:r>
          </a:p>
          <a:p>
            <a:pPr>
              <a:lnSpc>
                <a:spcPct val="107000"/>
              </a:lnSpc>
              <a:spcAft>
                <a:spcPts val="800"/>
              </a:spcAft>
            </a:pPr>
            <a:r>
              <a:rPr lang="en-US" sz="1000" b="1" dirty="0">
                <a:latin typeface="Arial" panose="020B0604020202020204" pitchFamily="34" charset="0"/>
                <a:ea typeface="Calibri" panose="020F0502020204030204" pitchFamily="34" charset="0"/>
                <a:cs typeface="Times New Roman" panose="02020603050405020304" pitchFamily="18" charset="0"/>
              </a:rPr>
              <a:t>Enhance Performance and Availability of Core Business Systems</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Since moving important pieces of its infrastructure to Azure, Adventure Works has enjoyed higher overall availability of critical applications and web properties. “With Azure, we no longer have maintenance-related downtime that negatively affects our business around the world,” Cowles says. </a:t>
            </a:r>
          </a:p>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By migrating its business-to-business website to Microsoft Azure, Adventure Works will eliminate the cost of that on-premises infrastructure and also realize reliability and performance gains. “It’s a lot easier to load-balance virtual machines in Azure than physical servers in our datacenter,” Cowles says. “We can also mitigate the impact of server security updates. By moving the B2B infrastructure to Azure, we can apply updates only to the regional servers that need them without affecting uptime in all of our offic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066D7C8F-5768-4309-A6B4-000AA0B9B27A}"/>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842B8561-31BD-4438-81FF-832DFA5569AC}"/>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27708540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4F7D9E37-6ACB-4235-BE88-4ECB2C28F508}"/>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8EFEE674-E2A2-41EB-8BCC-45EEF08A8488}"/>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18670256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37CAFB53-E984-4361-A445-CB4824F05D9D}"/>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AFE06922-1E01-4216-AEEE-60A3808CB55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41025806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732C4A70-4584-4337-87DB-928BC07C48FB}"/>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26622C16-3F2A-4F8A-BA9E-63F8234802FA}"/>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4608910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938021DC-7ED7-4FAC-85A3-C1350B4006B1}"/>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F85CEBB4-A226-412D-9BFE-B456E0DF9BE3}"/>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1664903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5DB42B52-8F99-4CA3-9C82-8B170CE41782}"/>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17C1478C-C52B-404E-B887-F7BFECFEE7A6}"/>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29144592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3188" y="73025"/>
            <a:ext cx="3290887" cy="1852613"/>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US" sz="1000" dirty="0">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0FAFF33-0CAD-4C56-91DF-FC7D8A858738}" type="slidenum">
              <a:rPr kumimoji="0" lang="en-US" sz="1200" b="0" i="0" u="none" strike="noStrike" kern="1200" cap="none" spc="0" normalizeH="0" baseline="0" noProof="0" smtClean="0">
                <a:ln>
                  <a:noFill/>
                </a:ln>
                <a:solidFill>
                  <a:prstClr val="black"/>
                </a:solidFill>
                <a:effectLst/>
                <a:uLnTx/>
                <a:uFillTx/>
                <a:latin typeface="Verdana"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Verdana" pitchFamily="34" charset="0"/>
              <a:ea typeface="+mn-ea"/>
              <a:cs typeface="Arial" charset="0"/>
            </a:endParaRPr>
          </a:p>
        </p:txBody>
      </p:sp>
      <p:sp>
        <p:nvSpPr>
          <p:cNvPr id="5" name="Rectangle 4">
            <a:extLst>
              <a:ext uri="{FF2B5EF4-FFF2-40B4-BE49-F238E27FC236}">
                <a16:creationId xmlns:a16="http://schemas.microsoft.com/office/drawing/2014/main" id="{84539EAD-C8A6-4FE9-A3E8-2176F43B6BB6}"/>
              </a:ext>
            </a:extLst>
          </p:cNvPr>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535A</a:t>
            </a:r>
          </a:p>
        </p:txBody>
      </p:sp>
      <p:sp>
        <p:nvSpPr>
          <p:cNvPr id="6" name="Rectangle 5">
            <a:extLst>
              <a:ext uri="{FF2B5EF4-FFF2-40B4-BE49-F238E27FC236}">
                <a16:creationId xmlns:a16="http://schemas.microsoft.com/office/drawing/2014/main" id="{D428F752-15E5-427D-ACF8-20C537D307B7}"/>
              </a:ext>
            </a:extLst>
          </p:cNvPr>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7: Comparing Database Options in Azure</a:t>
            </a:r>
          </a:p>
        </p:txBody>
      </p:sp>
    </p:spTree>
    <p:extLst>
      <p:ext uri="{BB962C8B-B14F-4D97-AF65-F5344CB8AC3E}">
        <p14:creationId xmlns:p14="http://schemas.microsoft.com/office/powerpoint/2010/main" val="2227581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1944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6121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3339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77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77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509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C892DB-26B9-4AC9-AD35-F47C64CA22C5}"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7239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2.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32pt Slide Title ">
    <p:spTree>
      <p:nvGrpSpPr>
        <p:cNvPr id="1" name=""/>
        <p:cNvGrpSpPr/>
        <p:nvPr/>
      </p:nvGrpSpPr>
      <p:grpSpPr>
        <a:xfrm>
          <a:off x="0" y="0"/>
          <a:ext cx="0" cy="0"/>
          <a:chOff x="0" y="0"/>
          <a:chExt cx="0" cy="0"/>
        </a:xfrm>
      </p:grpSpPr>
      <p:sp>
        <p:nvSpPr>
          <p:cNvPr id="8" name="Rectangle 7"/>
          <p:cNvSpPr/>
          <p:nvPr userDrawn="1"/>
        </p:nvSpPr>
        <p:spPr>
          <a:xfrm>
            <a:off x="0" y="0"/>
            <a:ext cx="12192000" cy="8229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609600" y="0"/>
            <a:ext cx="10972800" cy="822960"/>
          </a:xfrm>
        </p:spPr>
        <p:txBody>
          <a:bodyPr>
            <a:noAutofit/>
          </a:bodyPr>
          <a:lstStyle>
            <a:lvl1pPr algn="l">
              <a:lnSpc>
                <a:spcPct val="90000"/>
              </a:lnSpc>
              <a:defRPr sz="2800" baseline="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dirty="0"/>
              <a:t>28pt Slide Title</a:t>
            </a:r>
          </a:p>
        </p:txBody>
      </p:sp>
      <p:sp>
        <p:nvSpPr>
          <p:cNvPr id="10" name="Slide Number Placeholder 9"/>
          <p:cNvSpPr>
            <a:spLocks noGrp="1"/>
          </p:cNvSpPr>
          <p:nvPr>
            <p:ph type="sldNum" sz="quarter" idx="12"/>
          </p:nvPr>
        </p:nvSpPr>
        <p:spPr/>
        <p:txBody>
          <a:bodyPr/>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
        <p:nvSpPr>
          <p:cNvPr id="6" name="Footer Placeholder 8"/>
          <p:cNvSpPr>
            <a:spLocks noGrp="1"/>
          </p:cNvSpPr>
          <p:nvPr>
            <p:ph type="ftr" sz="quarter" idx="11"/>
          </p:nvPr>
        </p:nvSpPr>
        <p:spPr>
          <a:xfrm>
            <a:off x="609600" y="6324601"/>
            <a:ext cx="3860800" cy="365125"/>
          </a:xfrm>
        </p:spPr>
        <p:txBody>
          <a:bodyPr/>
          <a:lstStyle>
            <a:lvl1pPr algn="l">
              <a:defRPr/>
            </a:lvl1pPr>
          </a:lstStyle>
          <a:p>
            <a:endParaRPr lang="en-US" dirty="0"/>
          </a:p>
        </p:txBody>
      </p:sp>
      <p:sp>
        <p:nvSpPr>
          <p:cNvPr id="9" name="Text Placeholder 4"/>
          <p:cNvSpPr>
            <a:spLocks noGrp="1"/>
          </p:cNvSpPr>
          <p:nvPr>
            <p:ph type="body" sz="quarter" idx="13"/>
          </p:nvPr>
        </p:nvSpPr>
        <p:spPr>
          <a:xfrm>
            <a:off x="609600" y="1066800"/>
            <a:ext cx="10972800" cy="5105400"/>
          </a:xfrm>
          <a:prstGeom prst="rect">
            <a:avLst/>
          </a:prstGeom>
        </p:spPr>
        <p:txBody>
          <a:bodyPr/>
          <a:lstStyle>
            <a:lvl1pPr marL="457200" indent="-457200">
              <a:buClr>
                <a:srgbClr val="0070C0"/>
              </a:buClr>
              <a:buFont typeface="Arial" pitchFamily="34" charset="0"/>
              <a:buChar char="•"/>
              <a:defRPr sz="2800" b="0">
                <a:latin typeface="Segoe UI" pitchFamily="34" charset="0"/>
                <a:ea typeface="Segoe UI" pitchFamily="34" charset="0"/>
                <a:cs typeface="Segoe UI" pitchFamily="34" charset="0"/>
              </a:defRPr>
            </a:lvl1pPr>
            <a:lvl2pPr marL="800100" indent="-342900">
              <a:buClr>
                <a:srgbClr val="0070C0"/>
              </a:buClr>
              <a:buFont typeface="Arial" pitchFamily="34" charset="0"/>
              <a:buChar char="•"/>
              <a:defRPr sz="2400" b="0">
                <a:latin typeface="Segoe UI" pitchFamily="34" charset="0"/>
                <a:ea typeface="Segoe UI" pitchFamily="34" charset="0"/>
                <a:cs typeface="Segoe UI" pitchFamily="34" charset="0"/>
              </a:defRPr>
            </a:lvl2pPr>
            <a:lvl3pPr marL="1257300" indent="-342900">
              <a:buClr>
                <a:srgbClr val="0070C0"/>
              </a:buClr>
              <a:buFont typeface="Arial" pitchFamily="34" charset="0"/>
              <a:buChar char="•"/>
              <a:defRPr sz="2000" b="0">
                <a:latin typeface="Segoe UI" pitchFamily="34" charset="0"/>
                <a:ea typeface="Segoe UI" pitchFamily="34" charset="0"/>
                <a:cs typeface="Segoe UI" pitchFamily="34" charset="0"/>
              </a:defRPr>
            </a:lvl3pPr>
            <a:lvl4pPr marL="1371600" indent="0">
              <a:buNone/>
              <a:defRPr>
                <a:latin typeface="Segoe UI" pitchFamily="34" charset="0"/>
                <a:ea typeface="Segoe UI" pitchFamily="34" charset="0"/>
                <a:cs typeface="Segoe UI" pitchFamily="34" charset="0"/>
              </a:defRPr>
            </a:lvl4pPr>
            <a:lvl5pPr>
              <a:defRPr>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231762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09E0A-E802-4424-8268-53702707A4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D0D121DE-2822-4982-AC67-82DC7BF26F0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9CB5A27D-0355-4200-A340-3671619E67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9CCDFE5-FD0F-4B02-9E8D-CF46A59C161B}"/>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6" name="Footer Placeholder 5">
            <a:extLst>
              <a:ext uri="{FF2B5EF4-FFF2-40B4-BE49-F238E27FC236}">
                <a16:creationId xmlns:a16="http://schemas.microsoft.com/office/drawing/2014/main" id="{5D5E6D0B-435B-4642-B830-6BD5263DA5F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889F64C-B2DD-4E37-9193-00F152592D15}"/>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32755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E2529-4248-473A-9EE9-D27C5A26A6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D957DCFC-A666-4340-8018-EB5AAB604E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68522546-47A3-4EA2-B9CB-FFF0B67AC5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8B6276E-4307-4D44-A487-69DD1F2766AE}"/>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6" name="Footer Placeholder 5">
            <a:extLst>
              <a:ext uri="{FF2B5EF4-FFF2-40B4-BE49-F238E27FC236}">
                <a16:creationId xmlns:a16="http://schemas.microsoft.com/office/drawing/2014/main" id="{2E7AD47E-EEB4-4F46-A82E-88B11BD51AA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821592A-9C9B-4423-8F94-3909CEB97469}"/>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2327272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0A525-955F-4468-BC6A-2219089A4F78}"/>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669F55E-6E0E-4A02-971B-19F08F232C9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65B50D85-ECFE-41A9-B608-E4871C0CF7DD}"/>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5" name="Footer Placeholder 4">
            <a:extLst>
              <a:ext uri="{FF2B5EF4-FFF2-40B4-BE49-F238E27FC236}">
                <a16:creationId xmlns:a16="http://schemas.microsoft.com/office/drawing/2014/main" id="{20BE8D6A-7F89-4DF4-895B-0025C6F1DCD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9E3F608-882E-4CDF-8F97-B762C5F1C905}"/>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37203642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99AAB4-9410-4115-8C52-3B1A6267B2B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CFE6D72-C1A5-4CA4-BB28-54C05662FB8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59E298E-C4D4-4301-AFB2-4F9F3FDA412F}"/>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5" name="Footer Placeholder 4">
            <a:extLst>
              <a:ext uri="{FF2B5EF4-FFF2-40B4-BE49-F238E27FC236}">
                <a16:creationId xmlns:a16="http://schemas.microsoft.com/office/drawing/2014/main" id="{03512E6A-77C6-4965-9145-EAC11A41E94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9163CC5-7DFE-45EF-801F-DD1B295983D9}"/>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26818053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5E84F-3BFD-47A4-BA1D-18B00ED2195A}"/>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10C03729-AA6A-4073-9945-0DBD217FBC85}"/>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20827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aster Titl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Click to edit Master title style</a:t>
            </a:r>
            <a:endParaRPr lang="en-US" dirty="0"/>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j-lt"/>
              </a:defRPr>
            </a:lvl1pPr>
          </a:lstStyle>
          <a:p>
            <a:pPr lvl="0"/>
            <a:r>
              <a:rPr lang="en-US" dirty="0"/>
              <a:t>Presenter Name</a:t>
            </a:r>
          </a:p>
          <a:p>
            <a:pPr lvl="0"/>
            <a:r>
              <a:rPr lang="en-US" dirty="0"/>
              <a:t>Date</a:t>
            </a:r>
          </a:p>
        </p:txBody>
      </p:sp>
      <p:pic>
        <p:nvPicPr>
          <p:cNvPr id="3" name="Picture 2">
            <a:extLst>
              <a:ext uri="{FF2B5EF4-FFF2-40B4-BE49-F238E27FC236}">
                <a16:creationId xmlns:a16="http://schemas.microsoft.com/office/drawing/2014/main" id="{857BB73E-2AF0-483F-AB0E-38BBE132A9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1825" y="1440099"/>
            <a:ext cx="3630175" cy="5134366"/>
          </a:xfrm>
          <a:prstGeom prst="rect">
            <a:avLst/>
          </a:prstGeom>
        </p:spPr>
      </p:pic>
    </p:spTree>
    <p:extLst>
      <p:ext uri="{BB962C8B-B14F-4D97-AF65-F5344CB8AC3E}">
        <p14:creationId xmlns:p14="http://schemas.microsoft.com/office/powerpoint/2010/main" val="329305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158282" y="2781608"/>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dirty="0"/>
              <a:t>Section title</a:t>
            </a:r>
          </a:p>
        </p:txBody>
      </p:sp>
    </p:spTree>
    <p:extLst>
      <p:ext uri="{BB962C8B-B14F-4D97-AF65-F5344CB8AC3E}">
        <p14:creationId xmlns:p14="http://schemas.microsoft.com/office/powerpoint/2010/main" val="338134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733" y="266012"/>
            <a:ext cx="11306469" cy="403137"/>
          </a:xfrm>
        </p:spPr>
        <p:txBody>
          <a:bodyPr wrap="square" lIns="0" tIns="0" rIns="0" bIns="0">
            <a:spAutoFit/>
          </a:bodyPr>
          <a:lstStyle>
            <a:lvl1pPr>
              <a:lnSpc>
                <a:spcPts val="3075"/>
              </a:lnSpc>
              <a:defRPr sz="3200" strike="noStrike">
                <a:solidFill>
                  <a:srgbClr val="2F2F2F"/>
                </a:solidFill>
              </a:defRPr>
            </a:lvl1pPr>
          </a:lstStyle>
          <a:p>
            <a:r>
              <a:rPr lang="en-US" dirty="0"/>
              <a:t>Title</a:t>
            </a:r>
          </a:p>
        </p:txBody>
      </p:sp>
    </p:spTree>
    <p:extLst>
      <p:ext uri="{BB962C8B-B14F-4D97-AF65-F5344CB8AC3E}">
        <p14:creationId xmlns:p14="http://schemas.microsoft.com/office/powerpoint/2010/main" val="123581444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877" y="329807"/>
            <a:ext cx="11306469" cy="403137"/>
          </a:xfrm>
        </p:spPr>
        <p:txBody>
          <a:bodyPr wrap="square" lIns="0" tIns="0" rIns="0" bIns="0">
            <a:spAutoFit/>
          </a:bodyPr>
          <a:lstStyle>
            <a:lvl1pPr>
              <a:lnSpc>
                <a:spcPts val="3075"/>
              </a:lnSpc>
              <a:defRPr sz="3200">
                <a:solidFill>
                  <a:schemeClr val="tx1"/>
                </a:solidFill>
              </a:defRPr>
            </a:lvl1pPr>
          </a:lstStyle>
          <a:p>
            <a:r>
              <a:rPr lang="en-US" dirty="0"/>
              <a:t>layout 1: one column</a:t>
            </a:r>
          </a:p>
        </p:txBody>
      </p:sp>
      <p:sp>
        <p:nvSpPr>
          <p:cNvPr id="4" name="Text Placeholder 3"/>
          <p:cNvSpPr>
            <a:spLocks noGrp="1"/>
          </p:cNvSpPr>
          <p:nvPr>
            <p:ph type="body" sz="quarter" idx="10" hasCustomPrompt="1"/>
          </p:nvPr>
        </p:nvSpPr>
        <p:spPr>
          <a:xfrm>
            <a:off x="455998" y="1882335"/>
            <a:ext cx="4758211" cy="294953"/>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dirty="0"/>
              <a:t>Subtitle</a:t>
            </a:r>
            <a:endParaRPr lang="en-US" dirty="0"/>
          </a:p>
        </p:txBody>
      </p:sp>
      <p:sp>
        <p:nvSpPr>
          <p:cNvPr id="5" name="Text Placeholder 4"/>
          <p:cNvSpPr>
            <a:spLocks noGrp="1"/>
          </p:cNvSpPr>
          <p:nvPr>
            <p:ph type="body" sz="quarter" idx="11" hasCustomPrompt="1"/>
          </p:nvPr>
        </p:nvSpPr>
        <p:spPr>
          <a:xfrm>
            <a:off x="455995" y="2707600"/>
            <a:ext cx="4758210" cy="218008"/>
          </a:xfrm>
        </p:spPr>
        <p:txBody>
          <a:bodyPr lIns="0" tIns="0" rIns="0" bIns="0"/>
          <a:lstStyle>
            <a:lvl1pPr marL="274606" indent="-274606">
              <a:lnSpc>
                <a:spcPts val="1730"/>
              </a:lnSpc>
              <a:spcBef>
                <a:spcPts val="0"/>
              </a:spcBef>
              <a:buFont typeface="Arial" panose="020B0604020202020204" pitchFamily="34" charset="0"/>
              <a:buChar char="•"/>
              <a:defRPr sz="1400"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dirty="0"/>
              <a:t>Body – font size 14p</a:t>
            </a:r>
          </a:p>
        </p:txBody>
      </p:sp>
    </p:spTree>
    <p:extLst>
      <p:ext uri="{BB962C8B-B14F-4D97-AF65-F5344CB8AC3E}">
        <p14:creationId xmlns:p14="http://schemas.microsoft.com/office/powerpoint/2010/main" val="31292714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877" y="329807"/>
            <a:ext cx="11306469" cy="403137"/>
          </a:xfrm>
        </p:spPr>
        <p:txBody>
          <a:bodyPr wrap="square" lIns="0" tIns="0" rIns="0" bIns="0">
            <a:spAutoFit/>
          </a:bodyPr>
          <a:lstStyle>
            <a:lvl1pPr>
              <a:lnSpc>
                <a:spcPts val="3075"/>
              </a:lnSpc>
              <a:defRPr sz="3200">
                <a:solidFill>
                  <a:schemeClr val="tx1"/>
                </a:solidFill>
              </a:defRPr>
            </a:lvl1pPr>
          </a:lstStyle>
          <a:p>
            <a:r>
              <a:rPr lang="en-US" dirty="0"/>
              <a:t>layout 1: two column</a:t>
            </a:r>
          </a:p>
        </p:txBody>
      </p:sp>
      <p:sp>
        <p:nvSpPr>
          <p:cNvPr id="4" name="Text Placeholder 3"/>
          <p:cNvSpPr>
            <a:spLocks noGrp="1"/>
          </p:cNvSpPr>
          <p:nvPr>
            <p:ph type="body" sz="quarter" idx="10" hasCustomPrompt="1"/>
          </p:nvPr>
        </p:nvSpPr>
        <p:spPr>
          <a:xfrm>
            <a:off x="455998" y="1882335"/>
            <a:ext cx="4758211" cy="294953"/>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dirty="0"/>
              <a:t>Subtitle</a:t>
            </a:r>
            <a:endParaRPr lang="en-US" dirty="0"/>
          </a:p>
        </p:txBody>
      </p:sp>
      <p:sp>
        <p:nvSpPr>
          <p:cNvPr id="5" name="Text Placeholder 4"/>
          <p:cNvSpPr>
            <a:spLocks noGrp="1"/>
          </p:cNvSpPr>
          <p:nvPr>
            <p:ph type="body" sz="quarter" idx="11" hasCustomPrompt="1"/>
          </p:nvPr>
        </p:nvSpPr>
        <p:spPr>
          <a:xfrm>
            <a:off x="455995" y="2707600"/>
            <a:ext cx="4758210" cy="218008"/>
          </a:xfrm>
        </p:spPr>
        <p:txBody>
          <a:bodyPr lIns="0" tIns="0" rIns="0" bIns="0"/>
          <a:lstStyle>
            <a:lvl1pPr marL="274606" indent="-274606">
              <a:lnSpc>
                <a:spcPts val="1730"/>
              </a:lnSpc>
              <a:spcBef>
                <a:spcPts val="0"/>
              </a:spcBef>
              <a:buFont typeface="Arial" panose="020B0604020202020204" pitchFamily="34" charset="0"/>
              <a:buChar char="•"/>
              <a:defRPr sz="1400"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dirty="0"/>
              <a:t>Body – font size 14p</a:t>
            </a:r>
          </a:p>
        </p:txBody>
      </p:sp>
      <p:sp>
        <p:nvSpPr>
          <p:cNvPr id="8" name="Text Placeholder 3">
            <a:extLst>
              <a:ext uri="{FF2B5EF4-FFF2-40B4-BE49-F238E27FC236}">
                <a16:creationId xmlns:a16="http://schemas.microsoft.com/office/drawing/2014/main" id="{60EDC17C-BEB7-46AA-9DEA-933947A5A968}"/>
              </a:ext>
            </a:extLst>
          </p:cNvPr>
          <p:cNvSpPr>
            <a:spLocks noGrp="1"/>
          </p:cNvSpPr>
          <p:nvPr>
            <p:ph type="body" sz="quarter" idx="14" hasCustomPrompt="1"/>
          </p:nvPr>
        </p:nvSpPr>
        <p:spPr>
          <a:xfrm>
            <a:off x="6834139" y="1882335"/>
            <a:ext cx="4758211" cy="294953"/>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dirty="0"/>
              <a:t>Subtitle</a:t>
            </a:r>
            <a:endParaRPr lang="en-US" dirty="0"/>
          </a:p>
        </p:txBody>
      </p:sp>
      <p:sp>
        <p:nvSpPr>
          <p:cNvPr id="9" name="Text Placeholder 4">
            <a:extLst>
              <a:ext uri="{FF2B5EF4-FFF2-40B4-BE49-F238E27FC236}">
                <a16:creationId xmlns:a16="http://schemas.microsoft.com/office/drawing/2014/main" id="{3F71CE08-9521-4ACB-92AC-9C2CE74F8B6B}"/>
              </a:ext>
            </a:extLst>
          </p:cNvPr>
          <p:cNvSpPr>
            <a:spLocks noGrp="1"/>
          </p:cNvSpPr>
          <p:nvPr>
            <p:ph type="body" sz="quarter" idx="15" hasCustomPrompt="1"/>
          </p:nvPr>
        </p:nvSpPr>
        <p:spPr>
          <a:xfrm>
            <a:off x="6834136" y="2707600"/>
            <a:ext cx="4758210" cy="218008"/>
          </a:xfrm>
        </p:spPr>
        <p:txBody>
          <a:bodyPr lIns="0" tIns="0" rIns="0" bIns="0"/>
          <a:lstStyle>
            <a:lvl1pPr marL="274606" indent="-274606">
              <a:lnSpc>
                <a:spcPts val="1730"/>
              </a:lnSpc>
              <a:spcBef>
                <a:spcPts val="0"/>
              </a:spcBef>
              <a:buFont typeface="Arial" panose="020B0604020202020204" pitchFamily="34" charset="0"/>
              <a:buChar char="•"/>
              <a:defRPr sz="1400"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dirty="0"/>
              <a:t>Body – font size 14p</a:t>
            </a:r>
          </a:p>
        </p:txBody>
      </p:sp>
    </p:spTree>
    <p:extLst>
      <p:ext uri="{BB962C8B-B14F-4D97-AF65-F5344CB8AC3E}">
        <p14:creationId xmlns:p14="http://schemas.microsoft.com/office/powerpoint/2010/main" val="12176173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MOC Title Slide">
    <p:spTree>
      <p:nvGrpSpPr>
        <p:cNvPr id="1" name=""/>
        <p:cNvGrpSpPr/>
        <p:nvPr/>
      </p:nvGrpSpPr>
      <p:grpSpPr>
        <a:xfrm>
          <a:off x="0" y="0"/>
          <a:ext cx="0" cy="0"/>
          <a:chOff x="0" y="0"/>
          <a:chExt cx="0" cy="0"/>
        </a:xfrm>
      </p:grpSpPr>
      <p:sp>
        <p:nvSpPr>
          <p:cNvPr id="9" name="Rectangle 8"/>
          <p:cNvSpPr/>
          <p:nvPr userDrawn="1"/>
        </p:nvSpPr>
        <p:spPr>
          <a:xfrm>
            <a:off x="18903" y="2514600"/>
            <a:ext cx="12192000" cy="2514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TextBox 10"/>
          <p:cNvSpPr txBox="1"/>
          <p:nvPr userDrawn="1"/>
        </p:nvSpPr>
        <p:spPr>
          <a:xfrm>
            <a:off x="406400" y="1447800"/>
            <a:ext cx="10972800" cy="923330"/>
          </a:xfrm>
          <a:prstGeom prst="rect">
            <a:avLst/>
          </a:prstGeom>
          <a:noFill/>
        </p:spPr>
        <p:txBody>
          <a:bodyPr wrap="square" rtlCol="0">
            <a:spAutoFit/>
          </a:bodyPr>
          <a:lstStyle/>
          <a:p>
            <a:r>
              <a:rPr lang="en-US" sz="5200" spc="-100" baseline="0" dirty="0">
                <a:solidFill>
                  <a:schemeClr val="tx1">
                    <a:lumMod val="50000"/>
                    <a:lumOff val="50000"/>
                  </a:schemeClr>
                </a:solidFill>
                <a:latin typeface="Segoe UI Light" pitchFamily="34" charset="0"/>
                <a:ea typeface="Segoe UI" pitchFamily="34" charset="0"/>
                <a:cs typeface="Segoe UI" pitchFamily="34" charset="0"/>
              </a:rPr>
              <a:t>Microsoft Official Course</a:t>
            </a:r>
          </a:p>
        </p:txBody>
      </p:sp>
      <p:sp>
        <p:nvSpPr>
          <p:cNvPr id="12" name="Text Placeholder 14"/>
          <p:cNvSpPr>
            <a:spLocks noGrp="1"/>
          </p:cNvSpPr>
          <p:nvPr>
            <p:ph type="body" sz="quarter" idx="10" hasCustomPrompt="1"/>
          </p:nvPr>
        </p:nvSpPr>
        <p:spPr>
          <a:xfrm>
            <a:off x="3556000" y="2514600"/>
            <a:ext cx="8432799" cy="1371600"/>
          </a:xfrm>
          <a:prstGeom prst="rect">
            <a:avLst/>
          </a:prstGeom>
        </p:spPr>
        <p:txBody>
          <a:bodyPr anchor="ctr"/>
          <a:lstStyle>
            <a:lvl1pPr marL="0" indent="0">
              <a:buNone/>
              <a:defRPr sz="7200" baseline="0">
                <a:solidFill>
                  <a:schemeClr val="bg1"/>
                </a:solidFill>
                <a:latin typeface="Segoe UI Light" pitchFamily="34" charset="0"/>
              </a:defRPr>
            </a:lvl1pPr>
          </a:lstStyle>
          <a:p>
            <a:pPr lvl="0"/>
            <a:r>
              <a:rPr lang="en-US" dirty="0"/>
              <a:t>0000 (course#)</a:t>
            </a:r>
          </a:p>
        </p:txBody>
      </p:sp>
      <p:sp>
        <p:nvSpPr>
          <p:cNvPr id="13" name="Text Placeholder 18"/>
          <p:cNvSpPr>
            <a:spLocks noGrp="1"/>
          </p:cNvSpPr>
          <p:nvPr>
            <p:ph type="body" sz="quarter" idx="11" hasCustomPrompt="1"/>
          </p:nvPr>
        </p:nvSpPr>
        <p:spPr>
          <a:xfrm>
            <a:off x="3556001" y="3886200"/>
            <a:ext cx="8106711" cy="1143000"/>
          </a:xfrm>
          <a:prstGeom prst="rect">
            <a:avLst/>
          </a:prstGeom>
        </p:spPr>
        <p:txBody>
          <a:bodyPr/>
          <a:lstStyle>
            <a:lvl1pPr marL="0" indent="0">
              <a:buNone/>
              <a:defRPr sz="2800" baseline="0">
                <a:solidFill>
                  <a:schemeClr val="bg1"/>
                </a:solidFill>
                <a:latin typeface="Segoe UI Light" panose="020B0502040204020203" pitchFamily="34" charset="0"/>
                <a:ea typeface="Segoe UI" pitchFamily="34" charset="0"/>
                <a:cs typeface="Segoe UI" pitchFamily="34" charset="0"/>
              </a:defRPr>
            </a:lvl1pPr>
          </a:lstStyle>
          <a:p>
            <a:pPr lvl="0"/>
            <a:r>
              <a:rPr lang="en-US" dirty="0"/>
              <a:t>Course title starts here</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1" y="5827119"/>
            <a:ext cx="2651561" cy="73152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41" y="2514600"/>
            <a:ext cx="3377441" cy="2514600"/>
          </a:xfrm>
          <a:prstGeom prst="rect">
            <a:avLst/>
          </a:prstGeom>
        </p:spPr>
      </p:pic>
    </p:spTree>
    <p:extLst>
      <p:ext uri="{BB962C8B-B14F-4D97-AF65-F5344CB8AC3E}">
        <p14:creationId xmlns:p14="http://schemas.microsoft.com/office/powerpoint/2010/main" val="1433747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877" y="329807"/>
            <a:ext cx="11306469" cy="403137"/>
          </a:xfrm>
        </p:spPr>
        <p:txBody>
          <a:bodyPr wrap="square" lIns="0" tIns="0" rIns="0" bIns="0">
            <a:spAutoFit/>
          </a:bodyPr>
          <a:lstStyle>
            <a:lvl1pPr>
              <a:lnSpc>
                <a:spcPts val="3075"/>
              </a:lnSpc>
              <a:defRPr sz="3200">
                <a:solidFill>
                  <a:schemeClr val="tx1"/>
                </a:solidFill>
              </a:defRPr>
            </a:lvl1pPr>
          </a:lstStyle>
          <a:p>
            <a:r>
              <a:rPr lang="en-US" dirty="0"/>
              <a:t>layout 2: just a title (ideal for diagrams)</a:t>
            </a:r>
          </a:p>
        </p:txBody>
      </p:sp>
    </p:spTree>
    <p:extLst>
      <p:ext uri="{BB962C8B-B14F-4D97-AF65-F5344CB8AC3E}">
        <p14:creationId xmlns:p14="http://schemas.microsoft.com/office/powerpoint/2010/main" val="422959143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3 columns">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26198"/>
            <a:ext cx="3618381" cy="2602491"/>
          </a:xfrm>
          <a:blipFill>
            <a:blip r:embed="rId2" cstate="email">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endParaRPr lang="en-US" dirty="0"/>
          </a:p>
        </p:txBody>
      </p:sp>
      <p:sp>
        <p:nvSpPr>
          <p:cNvPr id="12" name="Picture Placeholder 10"/>
          <p:cNvSpPr>
            <a:spLocks noGrp="1"/>
          </p:cNvSpPr>
          <p:nvPr>
            <p:ph type="pic" sz="quarter" idx="15"/>
          </p:nvPr>
        </p:nvSpPr>
        <p:spPr>
          <a:xfrm>
            <a:off x="4303151" y="2126198"/>
            <a:ext cx="3607487" cy="2602491"/>
          </a:xfrm>
          <a:blipFill>
            <a:blip r:embed="rId3" cstate="email">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endParaRPr lang="en-US" dirty="0"/>
          </a:p>
        </p:txBody>
      </p:sp>
      <p:sp>
        <p:nvSpPr>
          <p:cNvPr id="13" name="Picture Placeholder 10"/>
          <p:cNvSpPr>
            <a:spLocks noGrp="1"/>
          </p:cNvSpPr>
          <p:nvPr>
            <p:ph type="pic" sz="quarter" idx="16"/>
          </p:nvPr>
        </p:nvSpPr>
        <p:spPr>
          <a:xfrm>
            <a:off x="8139413" y="2126198"/>
            <a:ext cx="3623050" cy="2602491"/>
          </a:xfrm>
          <a:blipFill>
            <a:blip r:embed="rId4" cstate="email">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endParaRPr lang="en-US" dirty="0"/>
          </a:p>
        </p:txBody>
      </p:sp>
      <p:sp>
        <p:nvSpPr>
          <p:cNvPr id="2" name="Title 1"/>
          <p:cNvSpPr>
            <a:spLocks noGrp="1"/>
          </p:cNvSpPr>
          <p:nvPr>
            <p:ph type="title" hasCustomPrompt="1"/>
          </p:nvPr>
        </p:nvSpPr>
        <p:spPr>
          <a:xfrm>
            <a:off x="455995" y="215876"/>
            <a:ext cx="11306469" cy="403137"/>
          </a:xfrm>
        </p:spPr>
        <p:txBody>
          <a:bodyPr wrap="square" lIns="0" tIns="0" rIns="0" bIns="0">
            <a:spAutoFit/>
          </a:bodyPr>
          <a:lstStyle>
            <a:lvl1pPr>
              <a:lnSpc>
                <a:spcPts val="3137"/>
              </a:lnSpc>
              <a:defRPr sz="3200">
                <a:solidFill>
                  <a:srgbClr val="2F2F2F"/>
                </a:solidFill>
              </a:defRPr>
            </a:lvl1pPr>
          </a:lstStyle>
          <a:p>
            <a:r>
              <a:rPr lang="en-US" dirty="0"/>
              <a:t>Photo layout 3</a:t>
            </a:r>
          </a:p>
        </p:txBody>
      </p:sp>
      <p:sp>
        <p:nvSpPr>
          <p:cNvPr id="5" name="Text Placeholder 4"/>
          <p:cNvSpPr>
            <a:spLocks noGrp="1"/>
          </p:cNvSpPr>
          <p:nvPr>
            <p:ph type="body" sz="quarter" idx="11" hasCustomPrompt="1"/>
          </p:nvPr>
        </p:nvSpPr>
        <p:spPr>
          <a:xfrm>
            <a:off x="455995" y="4927922"/>
            <a:ext cx="3618381" cy="1205458"/>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9" name="Text Placeholder 4"/>
          <p:cNvSpPr>
            <a:spLocks noGrp="1"/>
          </p:cNvSpPr>
          <p:nvPr>
            <p:ph type="body" sz="quarter" idx="12" hasCustomPrompt="1"/>
          </p:nvPr>
        </p:nvSpPr>
        <p:spPr>
          <a:xfrm>
            <a:off x="4300039" y="4927922"/>
            <a:ext cx="3618381" cy="1205458"/>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
        <p:nvSpPr>
          <p:cNvPr id="10" name="Text Placeholder 4"/>
          <p:cNvSpPr>
            <a:spLocks noGrp="1"/>
          </p:cNvSpPr>
          <p:nvPr>
            <p:ph type="body" sz="quarter" idx="13" hasCustomPrompt="1"/>
          </p:nvPr>
        </p:nvSpPr>
        <p:spPr>
          <a:xfrm>
            <a:off x="8144083" y="4927922"/>
            <a:ext cx="3618381" cy="1205458"/>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p:txBody>
      </p:sp>
    </p:spTree>
    <p:extLst>
      <p:ext uri="{BB962C8B-B14F-4D97-AF65-F5344CB8AC3E}">
        <p14:creationId xmlns:p14="http://schemas.microsoft.com/office/powerpoint/2010/main" val="907305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mo">
    <p:bg>
      <p:bgRef idx="1001">
        <a:schemeClr val="bg2"/>
      </p:bgRef>
    </p:bg>
    <p:spTree>
      <p:nvGrpSpPr>
        <p:cNvPr id="1" name=""/>
        <p:cNvGrpSpPr/>
        <p:nvPr/>
      </p:nvGrpSpPr>
      <p:grpSpPr>
        <a:xfrm>
          <a:off x="0" y="0"/>
          <a:ext cx="0" cy="0"/>
          <a:chOff x="0" y="0"/>
          <a:chExt cx="0" cy="0"/>
        </a:xfrm>
      </p:grpSpPr>
      <p:pic>
        <p:nvPicPr>
          <p:cNvPr id="7" name="Picture 6" descr="A person using a computer&#10;&#10;Description generated with very high confidence">
            <a:extLst>
              <a:ext uri="{FF2B5EF4-FFF2-40B4-BE49-F238E27FC236}">
                <a16:creationId xmlns:a16="http://schemas.microsoft.com/office/drawing/2014/main" id="{E0D5A176-7938-4650-BC58-7D4663BDE7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25800" y="-1"/>
            <a:ext cx="8959112" cy="5949377"/>
          </a:xfrm>
          <a:prstGeom prst="rect">
            <a:avLst/>
          </a:prstGeom>
        </p:spPr>
      </p:pic>
      <p:sp>
        <p:nvSpPr>
          <p:cNvPr id="4" name="Rectangle 3">
            <a:extLst>
              <a:ext uri="{FF2B5EF4-FFF2-40B4-BE49-F238E27FC236}">
                <a16:creationId xmlns:a16="http://schemas.microsoft.com/office/drawing/2014/main" id="{F3AF36A3-B5F6-459D-B669-D4C333F8DD97}"/>
              </a:ext>
            </a:extLst>
          </p:cNvPr>
          <p:cNvSpPr/>
          <p:nvPr userDrawn="1"/>
        </p:nvSpPr>
        <p:spPr bwMode="auto">
          <a:xfrm>
            <a:off x="0" y="6574465"/>
            <a:ext cx="12184912" cy="283535"/>
          </a:xfrm>
          <a:prstGeom prst="rect">
            <a:avLst/>
          </a:prstGeom>
          <a:solidFill>
            <a:srgbClr val="0093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8D6C28A5-0B39-4BAF-B39B-E6E9E8078B85}"/>
              </a:ext>
            </a:extLst>
          </p:cNvPr>
          <p:cNvSpPr txBox="1">
            <a:spLocks/>
          </p:cNvSpPr>
          <p:nvPr userDrawn="1"/>
        </p:nvSpPr>
        <p:spPr>
          <a:xfrm>
            <a:off x="10396451" y="6574465"/>
            <a:ext cx="1795548" cy="283535"/>
          </a:xfrm>
          <a:prstGeom prst="rect">
            <a:avLst/>
          </a:prstGeom>
          <a:noFill/>
        </p:spPr>
        <p:txBody>
          <a:bodyPr lIns="0" tIns="109728" rIns="164592" bIns="109728">
            <a:noAutofit/>
          </a:bodyPr>
          <a:lstStyle>
            <a:lvl1pPr marL="0" marR="0" indent="0" algn="r" defTabSz="896365"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a:lstStyle>
          <a:p>
            <a:pPr algn="l"/>
            <a:r>
              <a:rPr lang="en-US" sz="1200" dirty="0">
                <a:solidFill>
                  <a:schemeClr val="bg2"/>
                </a:solidFill>
              </a:rPr>
              <a:t>© 007FFFLearning.com</a:t>
            </a:r>
          </a:p>
        </p:txBody>
      </p:sp>
      <p:sp>
        <p:nvSpPr>
          <p:cNvPr id="15" name="Text Placeholder 14">
            <a:extLst>
              <a:ext uri="{FF2B5EF4-FFF2-40B4-BE49-F238E27FC236}">
                <a16:creationId xmlns:a16="http://schemas.microsoft.com/office/drawing/2014/main" id="{43031297-2A82-4D8F-8F21-DDBA94B80C8D}"/>
              </a:ext>
            </a:extLst>
          </p:cNvPr>
          <p:cNvSpPr>
            <a:spLocks noGrp="1"/>
          </p:cNvSpPr>
          <p:nvPr>
            <p:ph type="body" sz="quarter" idx="10" hasCustomPrompt="1"/>
          </p:nvPr>
        </p:nvSpPr>
        <p:spPr>
          <a:xfrm>
            <a:off x="139700" y="6038850"/>
            <a:ext cx="11982450" cy="572464"/>
          </a:xfrm>
          <a:ln>
            <a:solidFill>
              <a:srgbClr val="0093FF"/>
            </a:solidFill>
          </a:ln>
        </p:spPr>
        <p:txBody>
          <a:bodyPr/>
          <a:lstStyle>
            <a:lvl1pPr marL="0" indent="0">
              <a:buNone/>
              <a:defRPr/>
            </a:lvl1pPr>
          </a:lstStyle>
          <a:p>
            <a:pPr lvl="0"/>
            <a:r>
              <a:rPr lang="fr-BE" dirty="0"/>
              <a:t>DEMO </a:t>
            </a:r>
            <a:r>
              <a:rPr lang="fr-BE" dirty="0" err="1"/>
              <a:t>Title</a:t>
            </a:r>
            <a:r>
              <a:rPr lang="fr-BE" dirty="0"/>
              <a:t> </a:t>
            </a:r>
          </a:p>
        </p:txBody>
      </p:sp>
      <p:sp>
        <p:nvSpPr>
          <p:cNvPr id="18" name="TextBox 17">
            <a:extLst>
              <a:ext uri="{FF2B5EF4-FFF2-40B4-BE49-F238E27FC236}">
                <a16:creationId xmlns:a16="http://schemas.microsoft.com/office/drawing/2014/main" id="{4A609082-D191-4020-B2D8-057397295B4F}"/>
              </a:ext>
            </a:extLst>
          </p:cNvPr>
          <p:cNvSpPr txBox="1"/>
          <p:nvPr userDrawn="1"/>
        </p:nvSpPr>
        <p:spPr>
          <a:xfrm>
            <a:off x="317500" y="463550"/>
            <a:ext cx="1594026" cy="738664"/>
          </a:xfrm>
          <a:prstGeom prst="rect">
            <a:avLst/>
          </a:prstGeom>
          <a:noFill/>
          <a:ln>
            <a:solidFill>
              <a:srgbClr val="0093FF"/>
            </a:solidFill>
          </a:ln>
        </p:spPr>
        <p:txBody>
          <a:bodyPr wrap="none" lIns="182880" tIns="146304" rIns="182880" bIns="146304" rtlCol="0">
            <a:spAutoFit/>
          </a:bodyPr>
          <a:lstStyle/>
          <a:p>
            <a:pPr>
              <a:lnSpc>
                <a:spcPct val="90000"/>
              </a:lnSpc>
              <a:spcAft>
                <a:spcPts val="600"/>
              </a:spcAft>
            </a:pPr>
            <a:r>
              <a:rPr lang="fr-BE" sz="3200" b="1" dirty="0">
                <a:gradFill>
                  <a:gsLst>
                    <a:gs pos="2917">
                      <a:schemeClr val="tx1"/>
                    </a:gs>
                    <a:gs pos="30000">
                      <a:schemeClr val="tx1"/>
                    </a:gs>
                  </a:gsLst>
                  <a:lin ang="5400000" scaled="0"/>
                </a:gradFill>
              </a:rPr>
              <a:t>DEMO</a:t>
            </a:r>
          </a:p>
        </p:txBody>
      </p:sp>
    </p:spTree>
    <p:extLst>
      <p:ext uri="{BB962C8B-B14F-4D97-AF65-F5344CB8AC3E}">
        <p14:creationId xmlns:p14="http://schemas.microsoft.com/office/powerpoint/2010/main" val="4802343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fault bod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5DFCB-42BD-4135-85CD-B1355DA50B62}"/>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78C9C6C-49CB-4479-A46A-E06FBDE49BAA}"/>
              </a:ext>
            </a:extLst>
          </p:cNvPr>
          <p:cNvSpPr>
            <a:spLocks noGrp="1"/>
          </p:cNvSpPr>
          <p:nvPr>
            <p:ph idx="1"/>
          </p:nvPr>
        </p:nvSpPr>
        <p:spPr>
          <a:xfrm>
            <a:off x="170204" y="1122467"/>
            <a:ext cx="11332820" cy="5361460"/>
          </a:xfrm>
        </p:spPr>
        <p:txBody>
          <a:bodyPr anchor="ctr"/>
          <a:lstStyle>
            <a:lvl1pPr>
              <a:buClr>
                <a:schemeClr val="accent1">
                  <a:lumMod val="75000"/>
                </a:schemeClr>
              </a:buCl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Tree>
    <p:extLst>
      <p:ext uri="{BB962C8B-B14F-4D97-AF65-F5344CB8AC3E}">
        <p14:creationId xmlns:p14="http://schemas.microsoft.com/office/powerpoint/2010/main" val="60926045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dontuse 2">
    <p:spTree>
      <p:nvGrpSpPr>
        <p:cNvPr id="1" name=""/>
        <p:cNvGrpSpPr/>
        <p:nvPr/>
      </p:nvGrpSpPr>
      <p:grpSpPr>
        <a:xfrm>
          <a:off x="0" y="0"/>
          <a:ext cx="0" cy="0"/>
          <a:chOff x="0" y="0"/>
          <a:chExt cx="0" cy="0"/>
        </a:xfrm>
      </p:grpSpPr>
      <p:sp>
        <p:nvSpPr>
          <p:cNvPr id="2" name="Title 1"/>
          <p:cNvSpPr>
            <a:spLocks noGrp="1"/>
          </p:cNvSpPr>
          <p:nvPr>
            <p:ph type="title"/>
          </p:nvPr>
        </p:nvSpPr>
        <p:spPr>
          <a:xfrm>
            <a:off x="170204" y="180598"/>
            <a:ext cx="10018713" cy="819949"/>
          </a:xfrm>
        </p:spPr>
        <p:txBody>
          <a:bodyPr/>
          <a:lstStyle>
            <a:lvl1pPr algn="l">
              <a:defRPr/>
            </a:lvl1pPr>
          </a:lstStyle>
          <a:p>
            <a:r>
              <a:rPr lang="nl-NL" dirty="0"/>
              <a:t>Klik om de stijl te bewerken</a:t>
            </a:r>
            <a:endParaRPr lang="en-US" dirty="0"/>
          </a:p>
        </p:txBody>
      </p:sp>
      <p:sp>
        <p:nvSpPr>
          <p:cNvPr id="4" name="Date Placeholder 3"/>
          <p:cNvSpPr>
            <a:spLocks noGrp="1"/>
          </p:cNvSpPr>
          <p:nvPr>
            <p:ph type="dt" sz="half" idx="10"/>
          </p:nvPr>
        </p:nvSpPr>
        <p:spPr/>
        <p:txBody>
          <a:bodyPr/>
          <a:lstStyle/>
          <a:p>
            <a:fld id="{CEB21C9A-8CA3-4EE1-8BEB-AD64B5106311}" type="datetime1">
              <a:rPr lang="en-US" smtClean="0"/>
              <a:t>5/15/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Rectangle 8">
            <a:extLst>
              <a:ext uri="{FF2B5EF4-FFF2-40B4-BE49-F238E27FC236}">
                <a16:creationId xmlns:a16="http://schemas.microsoft.com/office/drawing/2014/main" id="{CC76B023-6C5F-4F45-919D-0F0339A4B07B}"/>
              </a:ext>
            </a:extLst>
          </p:cNvPr>
          <p:cNvSpPr/>
          <p:nvPr userDrawn="1"/>
        </p:nvSpPr>
        <p:spPr bwMode="auto">
          <a:xfrm>
            <a:off x="0" y="6574465"/>
            <a:ext cx="12184912" cy="283535"/>
          </a:xfrm>
          <a:prstGeom prst="rect">
            <a:avLst/>
          </a:prstGeom>
          <a:solidFill>
            <a:srgbClr val="0093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1B286491-E799-4C24-BF1C-F2FC7C8A5D56}"/>
              </a:ext>
            </a:extLst>
          </p:cNvPr>
          <p:cNvSpPr txBox="1">
            <a:spLocks/>
          </p:cNvSpPr>
          <p:nvPr userDrawn="1"/>
        </p:nvSpPr>
        <p:spPr>
          <a:xfrm>
            <a:off x="10396451" y="6574465"/>
            <a:ext cx="1795548" cy="283535"/>
          </a:xfrm>
          <a:prstGeom prst="rect">
            <a:avLst/>
          </a:prstGeom>
          <a:noFill/>
        </p:spPr>
        <p:txBody>
          <a:bodyPr lIns="0" tIns="109728" rIns="164592" bIns="109728">
            <a:noAutofit/>
          </a:bodyPr>
          <a:lstStyle>
            <a:lvl1pPr marL="0" marR="0" indent="0" algn="r" defTabSz="896365"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a:lstStyle>
          <a:p>
            <a:pPr algn="l"/>
            <a:r>
              <a:rPr lang="en-US" sz="1200" dirty="0">
                <a:solidFill>
                  <a:schemeClr val="bg2"/>
                </a:solidFill>
              </a:rPr>
              <a:t>© 007FFFLearning.com</a:t>
            </a:r>
          </a:p>
        </p:txBody>
      </p:sp>
    </p:spTree>
    <p:extLst>
      <p:ext uri="{BB962C8B-B14F-4D97-AF65-F5344CB8AC3E}">
        <p14:creationId xmlns:p14="http://schemas.microsoft.com/office/powerpoint/2010/main" val="35176700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Only">
  <p:cSld name="dontu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3" name="Date Placeholder 2"/>
          <p:cNvSpPr>
            <a:spLocks noGrp="1"/>
          </p:cNvSpPr>
          <p:nvPr>
            <p:ph type="dt" sz="half" idx="10"/>
          </p:nvPr>
        </p:nvSpPr>
        <p:spPr/>
        <p:txBody>
          <a:bodyPr/>
          <a:lstStyle/>
          <a:p>
            <a:fld id="{621F3308-12D0-4721-BB73-94ADD0A17096}" type="datetime1">
              <a:rPr lang="en-US" smtClean="0"/>
              <a:t>5/15/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
        <p:nvSpPr>
          <p:cNvPr id="7" name="Rectangle 6">
            <a:extLst>
              <a:ext uri="{FF2B5EF4-FFF2-40B4-BE49-F238E27FC236}">
                <a16:creationId xmlns:a16="http://schemas.microsoft.com/office/drawing/2014/main" id="{8D2F1EE9-07F2-49E1-9388-53ABCBEAE033}"/>
              </a:ext>
            </a:extLst>
          </p:cNvPr>
          <p:cNvSpPr/>
          <p:nvPr userDrawn="1"/>
        </p:nvSpPr>
        <p:spPr bwMode="auto">
          <a:xfrm>
            <a:off x="0" y="6574465"/>
            <a:ext cx="12184912" cy="283535"/>
          </a:xfrm>
          <a:prstGeom prst="rect">
            <a:avLst/>
          </a:prstGeom>
          <a:solidFill>
            <a:srgbClr val="0093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4">
            <a:extLst>
              <a:ext uri="{FF2B5EF4-FFF2-40B4-BE49-F238E27FC236}">
                <a16:creationId xmlns:a16="http://schemas.microsoft.com/office/drawing/2014/main" id="{43A86624-C8A7-4101-9447-04D9C79BE794}"/>
              </a:ext>
            </a:extLst>
          </p:cNvPr>
          <p:cNvSpPr txBox="1">
            <a:spLocks/>
          </p:cNvSpPr>
          <p:nvPr userDrawn="1"/>
        </p:nvSpPr>
        <p:spPr>
          <a:xfrm>
            <a:off x="10396451" y="6574465"/>
            <a:ext cx="1795548" cy="283535"/>
          </a:xfrm>
          <a:prstGeom prst="rect">
            <a:avLst/>
          </a:prstGeom>
          <a:noFill/>
        </p:spPr>
        <p:txBody>
          <a:bodyPr lIns="0" tIns="109728" rIns="164592" bIns="109728">
            <a:noAutofit/>
          </a:bodyPr>
          <a:lstStyle>
            <a:lvl1pPr marL="0" marR="0" indent="0" algn="r" defTabSz="896365"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a:lstStyle>
          <a:p>
            <a:pPr algn="l"/>
            <a:r>
              <a:rPr lang="en-US" sz="1200" dirty="0">
                <a:solidFill>
                  <a:schemeClr val="bg2"/>
                </a:solidFill>
              </a:rPr>
              <a:t>© 007FFFLearning.com</a:t>
            </a:r>
          </a:p>
        </p:txBody>
      </p:sp>
    </p:spTree>
    <p:extLst>
      <p:ext uri="{BB962C8B-B14F-4D97-AF65-F5344CB8AC3E}">
        <p14:creationId xmlns:p14="http://schemas.microsoft.com/office/powerpoint/2010/main" val="23280640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7576" y="204795"/>
            <a:ext cx="11306469" cy="403137"/>
          </a:xfrm>
        </p:spPr>
        <p:txBody>
          <a:bodyPr wrap="square" lIns="0" tIns="0" rIns="0" bIns="0">
            <a:spAutoFit/>
          </a:bodyPr>
          <a:lstStyle>
            <a:lvl1pPr>
              <a:lnSpc>
                <a:spcPts val="3075"/>
              </a:lnSpc>
              <a:defRPr sz="2745" strike="noStrike">
                <a:solidFill>
                  <a:srgbClr val="2F2F2F"/>
                </a:solidFill>
              </a:defRPr>
            </a:lvl1pPr>
          </a:lstStyle>
          <a:p>
            <a:r>
              <a:rPr lang="en-US" dirty="0"/>
              <a:t>Title</a:t>
            </a:r>
          </a:p>
        </p:txBody>
      </p:sp>
    </p:spTree>
    <p:extLst>
      <p:ext uri="{BB962C8B-B14F-4D97-AF65-F5344CB8AC3E}">
        <p14:creationId xmlns:p14="http://schemas.microsoft.com/office/powerpoint/2010/main" val="29451191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tandard Slide (Blank)">
    <p:spTree>
      <p:nvGrpSpPr>
        <p:cNvPr id="1" name=""/>
        <p:cNvGrpSpPr/>
        <p:nvPr/>
      </p:nvGrpSpPr>
      <p:grpSpPr>
        <a:xfrm>
          <a:off x="0" y="0"/>
          <a:ext cx="0" cy="0"/>
          <a:chOff x="0" y="0"/>
          <a:chExt cx="0" cy="0"/>
        </a:xfrm>
      </p:grpSpPr>
      <p:sp>
        <p:nvSpPr>
          <p:cNvPr id="2" name="Rectangle 1"/>
          <p:cNvSpPr/>
          <p:nvPr userDrawn="1"/>
        </p:nvSpPr>
        <p:spPr bwMode="auto">
          <a:xfrm>
            <a:off x="1" y="0"/>
            <a:ext cx="12192000" cy="6858000"/>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7" tIns="195021" rIns="243777" bIns="195021" numCol="1" spcCol="0" rtlCol="0" fromWordArt="0" anchor="t" anchorCtr="0" forceAA="0" compatLnSpc="1">
            <a:prstTxWarp prst="textNoShape">
              <a:avLst/>
            </a:prstTxWarp>
            <a:noAutofit/>
          </a:bodyPr>
          <a:lstStyle/>
          <a:p>
            <a:pPr marL="0" marR="0" lvl="0" indent="0" algn="ctr" defTabSz="1242892" rtl="0" eaLnBrk="1" fontAlgn="base" latinLnBrk="0" hangingPunct="1">
              <a:lnSpc>
                <a:spcPct val="90000"/>
              </a:lnSpc>
              <a:spcBef>
                <a:spcPct val="0"/>
              </a:spcBef>
              <a:spcAft>
                <a:spcPct val="0"/>
              </a:spcAft>
              <a:buClrTx/>
              <a:buSzTx/>
              <a:buFontTx/>
              <a:buNone/>
              <a:tabLst/>
              <a:defRPr/>
            </a:pPr>
            <a:endParaRPr kumimoji="0" lang="en-US" sz="3199"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1"/>
          <p:cNvSpPr>
            <a:spLocks noGrp="1"/>
          </p:cNvSpPr>
          <p:nvPr>
            <p:ph type="title"/>
          </p:nvPr>
        </p:nvSpPr>
        <p:spPr>
          <a:xfrm>
            <a:off x="269241" y="150618"/>
            <a:ext cx="11655840" cy="765564"/>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48568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5574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rger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44656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EB008-2655-4CA8-8F00-F9B2941CC7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5DD42BB8-F5F6-4B40-8E6F-07F87DFC5E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77DAF9E8-1C7F-4E0B-B5B9-1279221D9696}"/>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5" name="Footer Placeholder 4">
            <a:extLst>
              <a:ext uri="{FF2B5EF4-FFF2-40B4-BE49-F238E27FC236}">
                <a16:creationId xmlns:a16="http://schemas.microsoft.com/office/drawing/2014/main" id="{B8D3DF31-A8F5-49B3-BFE9-96BDC2496A4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6F27290-0B47-4C01-A767-6A9F61F3BC9F}"/>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18650309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al 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4642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73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71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1825115"/>
          </a:xfrm>
        </p:spPr>
        <p:txBody>
          <a:bodyPr/>
          <a:lstStyle>
            <a:lvl1pPr>
              <a:defRPr>
                <a:latin typeface="+mn-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771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Click to edit Master title style</a:t>
            </a:r>
            <a:endParaRPr lang="en-US" dirty="0"/>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j-lt"/>
              </a:defRPr>
            </a:lvl1pPr>
          </a:lstStyle>
          <a:p>
            <a:pPr lvl="0"/>
            <a:r>
              <a:rPr lang="en-US" dirty="0"/>
              <a:t>Presenter Name</a:t>
            </a:r>
          </a:p>
          <a:p>
            <a:pPr lvl="0"/>
            <a:r>
              <a:rPr lang="en-US" dirty="0"/>
              <a:t>Date</a:t>
            </a:r>
          </a:p>
        </p:txBody>
      </p:sp>
      <p:sp>
        <p:nvSpPr>
          <p:cNvPr id="4" name="Rectangle 3">
            <a:extLst>
              <a:ext uri="{FF2B5EF4-FFF2-40B4-BE49-F238E27FC236}">
                <a16:creationId xmlns:a16="http://schemas.microsoft.com/office/drawing/2014/main" id="{63D4E906-F5C9-4634-A585-5BFD2B26C274}"/>
              </a:ext>
            </a:extLst>
          </p:cNvPr>
          <p:cNvSpPr/>
          <p:nvPr userDrawn="1"/>
        </p:nvSpPr>
        <p:spPr bwMode="auto">
          <a:xfrm>
            <a:off x="0" y="6574465"/>
            <a:ext cx="12184912" cy="283535"/>
          </a:xfrm>
          <a:prstGeom prst="rect">
            <a:avLst/>
          </a:prstGeom>
          <a:solidFill>
            <a:srgbClr val="0093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4">
            <a:extLst>
              <a:ext uri="{FF2B5EF4-FFF2-40B4-BE49-F238E27FC236}">
                <a16:creationId xmlns:a16="http://schemas.microsoft.com/office/drawing/2014/main" id="{EE1D9356-CDCF-4553-8F9A-46F941740885}"/>
              </a:ext>
            </a:extLst>
          </p:cNvPr>
          <p:cNvSpPr>
            <a:spLocks noGrp="1"/>
          </p:cNvSpPr>
          <p:nvPr>
            <p:ph type="body" sz="quarter" idx="13" hasCustomPrompt="1"/>
          </p:nvPr>
        </p:nvSpPr>
        <p:spPr>
          <a:xfrm>
            <a:off x="10495472" y="6574465"/>
            <a:ext cx="1696527" cy="283535"/>
          </a:xfrm>
          <a:noFill/>
        </p:spPr>
        <p:txBody>
          <a:bodyPr lIns="0" tIns="109728" rIns="164592" bIns="109728">
            <a:noAutofit/>
          </a:bodyPr>
          <a:lstStyle>
            <a:lvl1pPr marL="0" indent="0" algn="r">
              <a:spcBef>
                <a:spcPts val="0"/>
              </a:spcBef>
              <a:buNone/>
              <a:defRPr sz="1400" spc="0" baseline="0">
                <a:solidFill>
                  <a:schemeClr val="bg2"/>
                </a:solidFill>
                <a:latin typeface="+mj-lt"/>
              </a:defRPr>
            </a:lvl1pPr>
          </a:lstStyle>
          <a:p>
            <a:pPr lvl="0"/>
            <a:r>
              <a:rPr lang="en-US" dirty="0"/>
              <a:t>© 007FFFlearning</a:t>
            </a:r>
          </a:p>
        </p:txBody>
      </p:sp>
      <p:pic>
        <p:nvPicPr>
          <p:cNvPr id="7" name="Picture 6">
            <a:extLst>
              <a:ext uri="{FF2B5EF4-FFF2-40B4-BE49-F238E27FC236}">
                <a16:creationId xmlns:a16="http://schemas.microsoft.com/office/drawing/2014/main" id="{CF04DA9A-C11C-4A79-A75D-838BFFFBC5F7}"/>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8822561" y="4917255"/>
            <a:ext cx="3295650" cy="1547495"/>
          </a:xfrm>
          <a:prstGeom prst="rect">
            <a:avLst/>
          </a:prstGeom>
        </p:spPr>
      </p:pic>
    </p:spTree>
    <p:extLst>
      <p:ext uri="{BB962C8B-B14F-4D97-AF65-F5344CB8AC3E}">
        <p14:creationId xmlns:p14="http://schemas.microsoft.com/office/powerpoint/2010/main" val="662598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99"/>
        <p:cNvGrpSpPr/>
        <p:nvPr/>
      </p:nvGrpSpPr>
      <p:grpSpPr>
        <a:xfrm>
          <a:off x="0" y="0"/>
          <a:ext cx="0" cy="0"/>
          <a:chOff x="0" y="0"/>
          <a:chExt cx="0" cy="0"/>
        </a:xfrm>
      </p:grpSpPr>
      <p:sp>
        <p:nvSpPr>
          <p:cNvPr id="100" name="Shape 100"/>
          <p:cNvSpPr/>
          <p:nvPr/>
        </p:nvSpPr>
        <p:spPr>
          <a:xfrm rot="10800000" flipH="1">
            <a:off x="0" y="2248000"/>
            <a:ext cx="12192000" cy="4610000"/>
          </a:xfrm>
          <a:prstGeom prst="rect">
            <a:avLst/>
          </a:prstGeom>
          <a:solidFill>
            <a:schemeClr val="accent4"/>
          </a:solidFill>
          <a:ln>
            <a:noFill/>
          </a:ln>
        </p:spPr>
        <p:txBody>
          <a:bodyPr lIns="121900" tIns="121900" rIns="121900" bIns="121900" anchor="ctr" anchorCtr="0">
            <a:noAutofit/>
          </a:bodyPr>
          <a:lstStyle/>
          <a:p>
            <a:pPr lvl="0">
              <a:spcBef>
                <a:spcPts val="0"/>
              </a:spcBef>
              <a:buNone/>
            </a:pPr>
            <a:endParaRPr sz="2400"/>
          </a:p>
        </p:txBody>
      </p:sp>
      <p:sp>
        <p:nvSpPr>
          <p:cNvPr id="101" name="Shape 101"/>
          <p:cNvSpPr/>
          <p:nvPr/>
        </p:nvSpPr>
        <p:spPr>
          <a:xfrm>
            <a:off x="0" y="2248000"/>
            <a:ext cx="12192000" cy="144800"/>
          </a:xfrm>
          <a:prstGeom prst="rect">
            <a:avLst/>
          </a:prstGeom>
          <a:gradFill>
            <a:gsLst>
              <a:gs pos="0">
                <a:srgbClr val="F9F9F9"/>
              </a:gs>
              <a:gs pos="36000">
                <a:srgbClr val="F9F9F9"/>
              </a:gs>
              <a:gs pos="80000">
                <a:srgbClr val="DEDEDE"/>
              </a:gs>
              <a:gs pos="100000">
                <a:srgbClr val="999999"/>
              </a:gs>
            </a:gsLst>
            <a:lin ang="16200038" scaled="0"/>
          </a:gradFill>
          <a:ln>
            <a:noFill/>
          </a:ln>
        </p:spPr>
        <p:txBody>
          <a:bodyPr lIns="121900" tIns="121900" rIns="121900" bIns="121900" anchor="ctr" anchorCtr="0">
            <a:noAutofit/>
          </a:bodyPr>
          <a:lstStyle/>
          <a:p>
            <a:pPr lvl="0">
              <a:spcBef>
                <a:spcPts val="0"/>
              </a:spcBef>
              <a:buNone/>
            </a:pPr>
            <a:endParaRPr sz="2400"/>
          </a:p>
        </p:txBody>
      </p:sp>
      <p:sp>
        <p:nvSpPr>
          <p:cNvPr id="102" name="Shape 102"/>
          <p:cNvSpPr txBox="1">
            <a:spLocks noGrp="1"/>
          </p:cNvSpPr>
          <p:nvPr>
            <p:ph type="title"/>
          </p:nvPr>
        </p:nvSpPr>
        <p:spPr>
          <a:xfrm>
            <a:off x="629200" y="984967"/>
            <a:ext cx="10962800" cy="1023600"/>
          </a:xfrm>
          <a:prstGeom prst="rect">
            <a:avLst/>
          </a:prstGeom>
        </p:spPr>
        <p:txBody>
          <a:bodyPr lIns="91425" tIns="91425" rIns="91425" bIns="91425" anchor="b"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03" name="Shape 103"/>
          <p:cNvSpPr txBox="1">
            <a:spLocks noGrp="1"/>
          </p:cNvSpPr>
          <p:nvPr>
            <p:ph type="body" idx="1"/>
          </p:nvPr>
        </p:nvSpPr>
        <p:spPr>
          <a:xfrm>
            <a:off x="629200" y="2558767"/>
            <a:ext cx="10962800" cy="554032"/>
          </a:xfrm>
          <a:prstGeom prst="rect">
            <a:avLst/>
          </a:prstGeom>
        </p:spPr>
        <p:txBody>
          <a:bodyPr lIns="91425" tIns="91425" rIns="91425" bIns="91425" anchor="t" anchorCtr="0"/>
          <a:lstStyle>
            <a:lvl1pPr lvl="0" rtl="0">
              <a:spcBef>
                <a:spcPts val="0"/>
              </a:spcBef>
              <a:buClr>
                <a:srgbClr val="434343"/>
              </a:buClr>
              <a:buSzPct val="100000"/>
              <a:buFont typeface="Calibri"/>
              <a:defRPr sz="2667">
                <a:solidFill>
                  <a:srgbClr val="434343"/>
                </a:solidFill>
                <a:latin typeface="Calibri"/>
                <a:ea typeface="Calibri"/>
                <a:cs typeface="Calibri"/>
                <a:sym typeface="Calibri"/>
              </a:defRPr>
            </a:lvl1pPr>
            <a:lvl2pPr lvl="1" rtl="0">
              <a:spcBef>
                <a:spcPts val="0"/>
              </a:spcBef>
              <a:buClr>
                <a:srgbClr val="434343"/>
              </a:buClr>
              <a:buSzPct val="100000"/>
              <a:buFont typeface="Calibri"/>
              <a:defRPr sz="2400">
                <a:solidFill>
                  <a:srgbClr val="434343"/>
                </a:solidFill>
                <a:latin typeface="Calibri"/>
                <a:ea typeface="Calibri"/>
                <a:cs typeface="Calibri"/>
                <a:sym typeface="Calibri"/>
              </a:defRPr>
            </a:lvl2pPr>
            <a:lvl3pPr lvl="2" rtl="0">
              <a:spcBef>
                <a:spcPts val="0"/>
              </a:spcBef>
              <a:buClr>
                <a:srgbClr val="434343"/>
              </a:buClr>
              <a:buSzPct val="100000"/>
              <a:buFont typeface="Calibri"/>
              <a:defRPr sz="2133">
                <a:solidFill>
                  <a:srgbClr val="434343"/>
                </a:solidFill>
                <a:latin typeface="Calibri"/>
                <a:ea typeface="Calibri"/>
                <a:cs typeface="Calibri"/>
                <a:sym typeface="Calibri"/>
              </a:defRPr>
            </a:lvl3pPr>
            <a:lvl4pPr lvl="3" rtl="0">
              <a:spcBef>
                <a:spcPts val="0"/>
              </a:spcBef>
              <a:buClr>
                <a:srgbClr val="434343"/>
              </a:buClr>
              <a:buFont typeface="Calibri"/>
              <a:defRPr>
                <a:solidFill>
                  <a:srgbClr val="434343"/>
                </a:solidFill>
                <a:latin typeface="Calibri"/>
                <a:ea typeface="Calibri"/>
                <a:cs typeface="Calibri"/>
                <a:sym typeface="Calibri"/>
              </a:defRPr>
            </a:lvl4pPr>
            <a:lvl5pPr lvl="4" rtl="0">
              <a:spcBef>
                <a:spcPts val="0"/>
              </a:spcBef>
              <a:buClr>
                <a:srgbClr val="434343"/>
              </a:buClr>
              <a:buFont typeface="Calibri"/>
              <a:defRPr>
                <a:solidFill>
                  <a:srgbClr val="434343"/>
                </a:solidFill>
                <a:latin typeface="Calibri"/>
                <a:ea typeface="Calibri"/>
                <a:cs typeface="Calibri"/>
                <a:sym typeface="Calibri"/>
              </a:defRPr>
            </a:lvl5pPr>
            <a:lvl6pPr lvl="5" rtl="0">
              <a:spcBef>
                <a:spcPts val="0"/>
              </a:spcBef>
              <a:buClr>
                <a:srgbClr val="434343"/>
              </a:buClr>
              <a:buFont typeface="Calibri"/>
              <a:defRPr>
                <a:solidFill>
                  <a:srgbClr val="434343"/>
                </a:solidFill>
                <a:latin typeface="Calibri"/>
                <a:ea typeface="Calibri"/>
                <a:cs typeface="Calibri"/>
                <a:sym typeface="Calibri"/>
              </a:defRPr>
            </a:lvl6pPr>
            <a:lvl7pPr lvl="6" rtl="0">
              <a:spcBef>
                <a:spcPts val="0"/>
              </a:spcBef>
              <a:buClr>
                <a:srgbClr val="434343"/>
              </a:buClr>
              <a:buFont typeface="Calibri"/>
              <a:defRPr>
                <a:solidFill>
                  <a:srgbClr val="434343"/>
                </a:solidFill>
                <a:latin typeface="Calibri"/>
                <a:ea typeface="Calibri"/>
                <a:cs typeface="Calibri"/>
                <a:sym typeface="Calibri"/>
              </a:defRPr>
            </a:lvl7pPr>
            <a:lvl8pPr lvl="7" rtl="0">
              <a:spcBef>
                <a:spcPts val="0"/>
              </a:spcBef>
              <a:buClr>
                <a:srgbClr val="434343"/>
              </a:buClr>
              <a:buFont typeface="Calibri"/>
              <a:defRPr>
                <a:solidFill>
                  <a:srgbClr val="434343"/>
                </a:solidFill>
                <a:latin typeface="Calibri"/>
                <a:ea typeface="Calibri"/>
                <a:cs typeface="Calibri"/>
                <a:sym typeface="Calibri"/>
              </a:defRPr>
            </a:lvl8pPr>
            <a:lvl9pPr lvl="8" rtl="0">
              <a:spcBef>
                <a:spcPts val="0"/>
              </a:spcBef>
              <a:buClr>
                <a:srgbClr val="434343"/>
              </a:buClr>
              <a:buFont typeface="Calibri"/>
              <a:defRPr>
                <a:solidFill>
                  <a:srgbClr val="434343"/>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8295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1825115"/>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431442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750736"/>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1561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45D56-F179-455D-A744-9A4B448BE7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3B9568-55C9-4112-98AF-75E7803C5529}"/>
              </a:ext>
            </a:extLst>
          </p:cNvPr>
          <p:cNvSpPr>
            <a:spLocks noGrp="1"/>
          </p:cNvSpPr>
          <p:nvPr>
            <p:ph sz="half" idx="1"/>
          </p:nvPr>
        </p:nvSpPr>
        <p:spPr>
          <a:xfrm>
            <a:off x="838200" y="1825625"/>
            <a:ext cx="5181600" cy="182511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34E5C1-3F02-4B26-8D67-16B0204A639A}"/>
              </a:ext>
            </a:extLst>
          </p:cNvPr>
          <p:cNvSpPr>
            <a:spLocks noGrp="1"/>
          </p:cNvSpPr>
          <p:nvPr>
            <p:ph sz="half" idx="2"/>
          </p:nvPr>
        </p:nvSpPr>
        <p:spPr>
          <a:xfrm>
            <a:off x="6172200" y="1825625"/>
            <a:ext cx="5181600" cy="182511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CB00755-1104-4DF1-A5B5-F3F88D5A7727}"/>
              </a:ext>
            </a:extLst>
          </p:cNvPr>
          <p:cNvSpPr>
            <a:spLocks noGrp="1"/>
          </p:cNvSpPr>
          <p:nvPr>
            <p:ph type="dt" sz="half" idx="10"/>
          </p:nvPr>
        </p:nvSpPr>
        <p:spPr/>
        <p:txBody>
          <a:bodyPr/>
          <a:lstStyle/>
          <a:p>
            <a:fld id="{EA3651B2-37F3-4C4E-AA9C-A730DA8A0A5B}" type="datetimeFigureOut">
              <a:rPr lang="en-US" smtClean="0"/>
              <a:t>5/15/2025</a:t>
            </a:fld>
            <a:endParaRPr lang="en-US"/>
          </a:p>
        </p:txBody>
      </p:sp>
      <p:sp>
        <p:nvSpPr>
          <p:cNvPr id="6" name="Footer Placeholder 5">
            <a:extLst>
              <a:ext uri="{FF2B5EF4-FFF2-40B4-BE49-F238E27FC236}">
                <a16:creationId xmlns:a16="http://schemas.microsoft.com/office/drawing/2014/main" id="{DA717674-E116-4930-9DD6-819222F8D7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0D2EDF-C882-4279-860E-7439ED039467}"/>
              </a:ext>
            </a:extLst>
          </p:cNvPr>
          <p:cNvSpPr>
            <a:spLocks noGrp="1"/>
          </p:cNvSpPr>
          <p:nvPr>
            <p:ph type="sldNum" sz="quarter" idx="12"/>
          </p:nvPr>
        </p:nvSpPr>
        <p:spPr/>
        <p:txBody>
          <a:bodyPr/>
          <a:lstStyle/>
          <a:p>
            <a:fld id="{6254C566-822D-4D57-87D5-3A576E412A17}" type="slidenum">
              <a:rPr lang="en-US" smtClean="0"/>
              <a:t>‹#›</a:t>
            </a:fld>
            <a:endParaRPr lang="en-US"/>
          </a:p>
        </p:txBody>
      </p:sp>
    </p:spTree>
    <p:extLst>
      <p:ext uri="{BB962C8B-B14F-4D97-AF65-F5344CB8AC3E}">
        <p14:creationId xmlns:p14="http://schemas.microsoft.com/office/powerpoint/2010/main" val="14755623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67621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6ED15-71AE-45DB-9ED5-C75467BC3BC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F5692FC3-9DD6-4638-931F-0F01D539E21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85F1F4E-3865-4BB3-8FB1-651D1CEF4E50}"/>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5" name="Footer Placeholder 4">
            <a:extLst>
              <a:ext uri="{FF2B5EF4-FFF2-40B4-BE49-F238E27FC236}">
                <a16:creationId xmlns:a16="http://schemas.microsoft.com/office/drawing/2014/main" id="{8C5EF8BC-2B9F-4550-A935-9CBE4908003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02A6F24-CAB6-47F3-8134-2B21A1A387B4}"/>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25236351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8" cy="194684"/>
          </a:xfrm>
          <a:prstGeom prst="rect">
            <a:avLst/>
          </a:prstGeom>
        </p:spPr>
        <p:txBody>
          <a:bodyPr vert="horz" lIns="128748" tIns="0" rIns="128748" bIns="64374" rtlCol="0" anchor="ctr"/>
          <a:lstStyle>
            <a:lvl1pPr algn="l">
              <a:defRPr sz="970" b="0">
                <a:solidFill>
                  <a:schemeClr val="bg1"/>
                </a:solidFill>
              </a:defRPr>
            </a:lvl1pPr>
          </a:lstStyle>
          <a:p>
            <a:fld id="{D372AB51-BDCC-4F95-83CF-1CBB2D34E9E5}" type="slidenum">
              <a:rPr lang="en-US" smtClean="0"/>
              <a:pPr/>
              <a:t>‹#›</a:t>
            </a:fld>
            <a:endParaRPr lang="en-US" dirty="0"/>
          </a:p>
        </p:txBody>
      </p:sp>
      <p:sp>
        <p:nvSpPr>
          <p:cNvPr id="8" name="Text Placeholder 2"/>
          <p:cNvSpPr>
            <a:spLocks noGrp="1"/>
          </p:cNvSpPr>
          <p:nvPr>
            <p:ph idx="1" hasCustomPrompt="1"/>
          </p:nvPr>
        </p:nvSpPr>
        <p:spPr>
          <a:xfrm>
            <a:off x="579512" y="1816516"/>
            <a:ext cx="10972800" cy="4201283"/>
          </a:xfrm>
          <a:prstGeom prst="rect">
            <a:avLst/>
          </a:prstGeom>
        </p:spPr>
        <p:txBody>
          <a:bodyPr vert="horz" lIns="128748" tIns="64374" rIns="128748" bIns="64374" rtlCol="0">
            <a:noAutofit/>
          </a:bodyPr>
          <a:lstStyle>
            <a:lvl1pPr marL="0" indent="0">
              <a:buNone/>
              <a:defRPr>
                <a:solidFill>
                  <a:srgbClr val="0084CC"/>
                </a:solidFill>
                <a:latin typeface="+mn-lt"/>
              </a:defRPr>
            </a:lvl1pPr>
            <a:lvl2pPr marL="425915" indent="-425915">
              <a:buClr>
                <a:schemeClr val="accent4"/>
              </a:buClr>
              <a:buFont typeface="Arial"/>
              <a:buChar char="•"/>
              <a:defRPr>
                <a:solidFill>
                  <a:schemeClr val="tx1">
                    <a:lumMod val="75000"/>
                    <a:lumOff val="25000"/>
                  </a:schemeClr>
                </a:solidFill>
                <a:latin typeface="+mn-lt"/>
              </a:defRPr>
            </a:lvl2pPr>
            <a:lvl3pPr marL="792675" indent="-425915">
              <a:buClr>
                <a:schemeClr val="accent4"/>
              </a:buClr>
              <a:buFont typeface="Arial"/>
              <a:buChar char="•"/>
              <a:defRPr sz="2206" b="0">
                <a:solidFill>
                  <a:srgbClr val="0084CC"/>
                </a:solidFill>
                <a:latin typeface="+mn-lt"/>
              </a:defRPr>
            </a:lvl3pPr>
            <a:lvl4pPr marL="1145634" indent="-425915">
              <a:buClr>
                <a:schemeClr val="accent4"/>
              </a:buClr>
              <a:buFont typeface="Arial"/>
              <a:buChar char="•"/>
              <a:defRPr>
                <a:solidFill>
                  <a:schemeClr val="tx1">
                    <a:lumMod val="75000"/>
                    <a:lumOff val="25000"/>
                  </a:schemeClr>
                </a:solidFill>
                <a:latin typeface="+mn-lt"/>
              </a:defRPr>
            </a:lvl4pPr>
            <a:lvl5pPr marL="1476902" indent="-425915">
              <a:buClr>
                <a:schemeClr val="accent4"/>
              </a:buClr>
              <a:buFont typeface="Arial"/>
              <a:buChar char="•"/>
              <a:defRPr>
                <a:solidFill>
                  <a:schemeClr val="tx1">
                    <a:lumMod val="75000"/>
                    <a:lumOff val="25000"/>
                  </a:schemeClr>
                </a:solidFill>
                <a:latin typeface="+mn-lt"/>
              </a:defRPr>
            </a:lvl5pPr>
          </a:lstStyle>
          <a:p>
            <a:pPr marL="366761" lvl="2" indent="-366761">
              <a:buNone/>
            </a:pPr>
            <a:r>
              <a:rPr lang="en-US" sz="3000" dirty="0">
                <a:solidFill>
                  <a:schemeClr val="accent4"/>
                </a:solidFill>
              </a:rPr>
              <a:t>Heading One Style </a:t>
            </a:r>
          </a:p>
          <a:p>
            <a:pPr marL="366761" lvl="2" indent="-366761">
              <a:buNone/>
            </a:pPr>
            <a:r>
              <a:rPr lang="en-US" dirty="0">
                <a:solidFill>
                  <a:schemeClr val="tx1">
                    <a:lumMod val="65000"/>
                    <a:lumOff val="35000"/>
                  </a:schemeClr>
                </a:solidFill>
              </a:rPr>
              <a:t>Body content, 18pt Segoe UI (gray)</a:t>
            </a:r>
          </a:p>
          <a:p>
            <a:pPr marL="366761" lvl="2" indent="-366761">
              <a:buNone/>
            </a:pPr>
            <a:endParaRPr lang="en-US" dirty="0">
              <a:solidFill>
                <a:schemeClr val="tx1">
                  <a:lumMod val="65000"/>
                  <a:lumOff val="35000"/>
                </a:schemeClr>
              </a:solidFill>
            </a:endParaRPr>
          </a:p>
          <a:p>
            <a:pPr marL="366761" lvl="2" indent="-366761">
              <a:buNone/>
            </a:pPr>
            <a:r>
              <a:rPr lang="en-US" sz="2470" dirty="0">
                <a:solidFill>
                  <a:schemeClr val="accent6"/>
                </a:solidFill>
              </a:rPr>
              <a:t>Heading Two Style</a:t>
            </a:r>
          </a:p>
          <a:p>
            <a:pPr marL="366761" lvl="2" indent="-366761">
              <a:buNone/>
            </a:pPr>
            <a:r>
              <a:rPr lang="en-US" dirty="0">
                <a:solidFill>
                  <a:schemeClr val="tx1">
                    <a:lumMod val="65000"/>
                    <a:lumOff val="35000"/>
                  </a:schemeClr>
                </a:solidFill>
              </a:rPr>
              <a:t>Body content, 18pt Segoe UI (gray)</a:t>
            </a:r>
          </a:p>
          <a:p>
            <a:pPr marL="366761" lvl="2" indent="-366761">
              <a:buNone/>
            </a:pPr>
            <a:endParaRPr lang="en-US" sz="2470" dirty="0">
              <a:solidFill>
                <a:schemeClr val="accent3"/>
              </a:solidFill>
            </a:endParaRPr>
          </a:p>
          <a:p>
            <a:pPr marL="366761" lvl="2" indent="-366761">
              <a:buNone/>
            </a:pPr>
            <a:r>
              <a:rPr lang="en-US" b="1" dirty="0">
                <a:solidFill>
                  <a:schemeClr val="accent1"/>
                </a:solidFill>
              </a:rPr>
              <a:t>HEADING THREE STYLE</a:t>
            </a:r>
          </a:p>
          <a:p>
            <a:pPr marL="366761" lvl="2" indent="-366761">
              <a:buNone/>
            </a:pPr>
            <a:r>
              <a:rPr lang="en-US" dirty="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71164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8D64F-302C-4B73-A9F2-946CA338260A}"/>
              </a:ext>
            </a:extLst>
          </p:cNvPr>
          <p:cNvSpPr>
            <a:spLocks noGrp="1"/>
          </p:cNvSpPr>
          <p:nvPr>
            <p:ph type="title"/>
          </p:nvPr>
        </p:nvSpPr>
        <p:spPr>
          <a:xfrm>
            <a:off x="353565" y="278160"/>
            <a:ext cx="9438716" cy="797605"/>
          </a:xfrm>
        </p:spPr>
        <p:txBody>
          <a:bodyPr>
            <a:normAutofit/>
          </a:bodyPr>
          <a:lstStyle>
            <a:lvl1pPr>
              <a:defRPr sz="2800">
                <a:solidFill>
                  <a:schemeClr val="tx1">
                    <a:lumMod val="65000"/>
                    <a:lumOff val="35000"/>
                  </a:schemeClr>
                </a:solidFill>
                <a:latin typeface="Trebuchet MS" panose="020B0603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72EB2DC-2ADD-4476-921C-5457C12D154E}"/>
              </a:ext>
            </a:extLst>
          </p:cNvPr>
          <p:cNvSpPr>
            <a:spLocks noGrp="1"/>
          </p:cNvSpPr>
          <p:nvPr>
            <p:ph idx="1"/>
          </p:nvPr>
        </p:nvSpPr>
        <p:spPr>
          <a:xfrm>
            <a:off x="726724" y="1253331"/>
            <a:ext cx="11039452" cy="5053380"/>
          </a:xfrm>
        </p:spPr>
        <p:txBody>
          <a:bodyPr>
            <a:normAutofit/>
          </a:bodyPr>
          <a:lstStyle>
            <a:lvl1pPr>
              <a:defRPr sz="2400">
                <a:solidFill>
                  <a:schemeClr val="bg1">
                    <a:lumMod val="50000"/>
                  </a:schemeClr>
                </a:solidFill>
                <a:latin typeface="Trebuchet MS" panose="020B0603020202020204" pitchFamily="34" charset="0"/>
              </a:defRPr>
            </a:lvl1pPr>
            <a:lvl2pPr>
              <a:defRPr sz="2000">
                <a:solidFill>
                  <a:schemeClr val="bg1">
                    <a:lumMod val="50000"/>
                  </a:schemeClr>
                </a:solidFill>
                <a:latin typeface="Trebuchet MS" panose="020B0603020202020204" pitchFamily="34" charset="0"/>
              </a:defRPr>
            </a:lvl2pPr>
            <a:lvl3pPr>
              <a:defRPr sz="1800">
                <a:solidFill>
                  <a:schemeClr val="bg1">
                    <a:lumMod val="50000"/>
                  </a:schemeClr>
                </a:solidFill>
                <a:latin typeface="Trebuchet MS" panose="020B0603020202020204" pitchFamily="34" charset="0"/>
              </a:defRPr>
            </a:lvl3pPr>
            <a:lvl4pPr>
              <a:defRPr sz="1600">
                <a:solidFill>
                  <a:schemeClr val="bg1">
                    <a:lumMod val="50000"/>
                  </a:schemeClr>
                </a:solidFill>
                <a:latin typeface="Trebuchet MS" panose="020B0603020202020204" pitchFamily="34" charset="0"/>
              </a:defRPr>
            </a:lvl4pPr>
            <a:lvl5pPr>
              <a:defRPr sz="1600">
                <a:solidFill>
                  <a:schemeClr val="bg1">
                    <a:lumMod val="50000"/>
                  </a:schemeClr>
                </a:solidFill>
                <a:latin typeface="Trebuchet MS" panose="020B0603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C68B0C41-3748-45BA-AC12-3356750D6CCC}"/>
              </a:ext>
            </a:extLst>
          </p:cNvPr>
          <p:cNvSpPr>
            <a:spLocks noGrp="1"/>
          </p:cNvSpPr>
          <p:nvPr>
            <p:ph type="dt" sz="half" idx="10"/>
          </p:nvPr>
        </p:nvSpPr>
        <p:spPr/>
        <p:txBody>
          <a:bodyPr/>
          <a:lstStyle/>
          <a:p>
            <a:fld id="{B53A7951-1658-4778-938E-2E6BDE9E7745}" type="datetimeFigureOut">
              <a:rPr lang="en-US" smtClean="0"/>
              <a:t>5/15/2025</a:t>
            </a:fld>
            <a:endParaRPr lang="en-US"/>
          </a:p>
        </p:txBody>
      </p:sp>
      <p:sp>
        <p:nvSpPr>
          <p:cNvPr id="5" name="Footer Placeholder 4">
            <a:extLst>
              <a:ext uri="{FF2B5EF4-FFF2-40B4-BE49-F238E27FC236}">
                <a16:creationId xmlns:a16="http://schemas.microsoft.com/office/drawing/2014/main" id="{B2BC5298-80C2-435C-BE19-55A311B75B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E8E2F2-0AF5-4302-9483-8FB2AC4A12E3}"/>
              </a:ext>
            </a:extLst>
          </p:cNvPr>
          <p:cNvSpPr>
            <a:spLocks noGrp="1"/>
          </p:cNvSpPr>
          <p:nvPr>
            <p:ph type="sldNum" sz="quarter" idx="12"/>
          </p:nvPr>
        </p:nvSpPr>
        <p:spPr/>
        <p:txBody>
          <a:bodyPr/>
          <a:lstStyle/>
          <a:p>
            <a:fld id="{FB4F0EA5-8389-4884-A9A5-A844C62AB2F1}" type="slidenum">
              <a:rPr lang="en-US" smtClean="0"/>
              <a:t>‹#›</a:t>
            </a:fld>
            <a:endParaRPr lang="en-US"/>
          </a:p>
        </p:txBody>
      </p:sp>
      <p:pic>
        <p:nvPicPr>
          <p:cNvPr id="17" name="Picture 16">
            <a:extLst>
              <a:ext uri="{FF2B5EF4-FFF2-40B4-BE49-F238E27FC236}">
                <a16:creationId xmlns:a16="http://schemas.microsoft.com/office/drawing/2014/main" id="{BDA81932-581C-4CDF-943C-DF5B31342A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76764" y="6208430"/>
            <a:ext cx="1593321" cy="340174"/>
          </a:xfrm>
          <a:prstGeom prst="rect">
            <a:avLst/>
          </a:prstGeom>
        </p:spPr>
      </p:pic>
    </p:spTree>
    <p:extLst>
      <p:ext uri="{BB962C8B-B14F-4D97-AF65-F5344CB8AC3E}">
        <p14:creationId xmlns:p14="http://schemas.microsoft.com/office/powerpoint/2010/main" val="8199134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3" y="289515"/>
            <a:ext cx="4225335" cy="3214201"/>
          </a:xfrm>
        </p:spPr>
        <p:txBody>
          <a:bodyPr/>
          <a:lstStyle/>
          <a:p>
            <a:r>
              <a:rPr lang="en-US"/>
              <a:t>Click to edit Master title style</a:t>
            </a:r>
          </a:p>
        </p:txBody>
      </p:sp>
      <p:sp>
        <p:nvSpPr>
          <p:cNvPr id="3" name="Rectangle 2"/>
          <p:cNvSpPr/>
          <p:nvPr userDrawn="1"/>
        </p:nvSpPr>
        <p:spPr bwMode="auto">
          <a:xfrm>
            <a:off x="4751363" y="5"/>
            <a:ext cx="7440636" cy="6858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95" fontAlgn="base">
              <a:lnSpc>
                <a:spcPct val="90000"/>
              </a:lnSpc>
              <a:spcBef>
                <a:spcPct val="0"/>
              </a:spcBef>
              <a:spcAft>
                <a:spcPct val="0"/>
              </a:spcAft>
              <a:defRPr/>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6803543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2" pos="334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87486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99581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912190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p>
        </p:txBody>
      </p:sp>
      <p:sp>
        <p:nvSpPr>
          <p:cNvPr id="6" name="Text Placeholder 5"/>
          <p:cNvSpPr>
            <a:spLocks noGrp="1"/>
          </p:cNvSpPr>
          <p:nvPr>
            <p:ph type="body" sz="quarter" idx="10"/>
          </p:nvPr>
        </p:nvSpPr>
        <p:spPr>
          <a:xfrm>
            <a:off x="358570" y="1344828"/>
            <a:ext cx="11474238" cy="1836657"/>
          </a:xfrm>
        </p:spPr>
        <p:txBody>
          <a:bodyPr>
            <a:spAutoFit/>
          </a:bodyPr>
          <a:lstStyle>
            <a:lvl1pPr marL="0" indent="0">
              <a:spcBef>
                <a:spcPts val="588"/>
              </a:spcBef>
              <a:buNone/>
              <a:defRPr sz="2745" spc="-29" baseline="0">
                <a:solidFill>
                  <a:srgbClr val="0072C6"/>
                </a:solidFill>
                <a:latin typeface="+mj-lt"/>
              </a:defRPr>
            </a:lvl1pPr>
            <a:lvl2pPr marL="0" indent="0">
              <a:spcBef>
                <a:spcPts val="588"/>
              </a:spcBef>
              <a:buFontTx/>
              <a:buNone/>
              <a:defRPr sz="1961"/>
            </a:lvl2pPr>
            <a:lvl3pPr marL="224097" indent="0">
              <a:spcBef>
                <a:spcPts val="588"/>
              </a:spcBef>
              <a:buNone/>
              <a:defRPr/>
            </a:lvl3pPr>
            <a:lvl4pPr marL="448193" indent="0">
              <a:spcBef>
                <a:spcPts val="588"/>
              </a:spcBef>
              <a:buNone/>
              <a:defRPr/>
            </a:lvl4pPr>
            <a:lvl5pPr marL="672290" indent="0">
              <a:spcBef>
                <a:spcPts val="588"/>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87309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a:t>Click to edit Master title style</a:t>
            </a:r>
          </a:p>
        </p:txBody>
      </p:sp>
    </p:spTree>
    <p:extLst>
      <p:ext uri="{BB962C8B-B14F-4D97-AF65-F5344CB8AC3E}">
        <p14:creationId xmlns:p14="http://schemas.microsoft.com/office/powerpoint/2010/main" val="51191109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9537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2129044"/>
          </a:xfrm>
        </p:spPr>
        <p:txBody>
          <a:bodyPr wrap="square">
            <a:spAutoFit/>
          </a:bodyPr>
          <a:lstStyle>
            <a:lvl1pPr marL="0" indent="0">
              <a:spcBef>
                <a:spcPts val="1124"/>
              </a:spcBef>
              <a:buClr>
                <a:schemeClr val="tx1"/>
              </a:buClr>
              <a:buFont typeface="Wingdings" pitchFamily="2" charset="2"/>
              <a:buNone/>
              <a:defRPr sz="2940">
                <a:gradFill>
                  <a:gsLst>
                    <a:gs pos="12389">
                      <a:schemeClr val="tx2"/>
                    </a:gs>
                    <a:gs pos="31000">
                      <a:schemeClr val="tx2"/>
                    </a:gs>
                  </a:gsLst>
                  <a:lin ang="5400000" scaled="0"/>
                </a:gradFill>
              </a:defRPr>
            </a:lvl1pPr>
            <a:lvl2pPr marL="0" indent="0">
              <a:buNone/>
              <a:defRPr sz="1838"/>
            </a:lvl2pPr>
            <a:lvl3pPr marL="212909" indent="0">
              <a:buNone/>
              <a:tabLst/>
              <a:defRPr sz="1838"/>
            </a:lvl3pPr>
            <a:lvl4pPr marL="422901" indent="0">
              <a:buNone/>
              <a:defRPr/>
            </a:lvl4pPr>
            <a:lvl5pPr marL="62997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129044"/>
          </a:xfrm>
        </p:spPr>
        <p:txBody>
          <a:bodyPr wrap="square">
            <a:spAutoFit/>
          </a:bodyPr>
          <a:lstStyle>
            <a:lvl1pPr marL="0" indent="0">
              <a:spcBef>
                <a:spcPts val="1124"/>
              </a:spcBef>
              <a:buClr>
                <a:schemeClr val="tx1"/>
              </a:buClr>
              <a:buFont typeface="Wingdings" pitchFamily="2" charset="2"/>
              <a:buNone/>
              <a:defRPr sz="2940">
                <a:gradFill>
                  <a:gsLst>
                    <a:gs pos="12389">
                      <a:schemeClr val="tx2"/>
                    </a:gs>
                    <a:gs pos="31000">
                      <a:schemeClr val="tx2"/>
                    </a:gs>
                  </a:gsLst>
                  <a:lin ang="5400000" scaled="0"/>
                </a:gradFill>
              </a:defRPr>
            </a:lvl1pPr>
            <a:lvl2pPr marL="0" indent="0">
              <a:buNone/>
              <a:defRPr sz="1838"/>
            </a:lvl2pPr>
            <a:lvl3pPr marL="212909" indent="0">
              <a:buNone/>
              <a:tabLst/>
              <a:defRPr sz="1838"/>
            </a:lvl3pPr>
            <a:lvl4pPr marL="422901" indent="0">
              <a:buNone/>
              <a:defRPr/>
            </a:lvl4pPr>
            <a:lvl5pPr marL="629978"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43052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BF0FA-1679-475A-9FAF-CC32615D68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0844231-3F3A-434A-8749-E484EDBC84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25B1AAB-9A29-4227-B8AA-9F11F93633C2}"/>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5" name="Footer Placeholder 4">
            <a:extLst>
              <a:ext uri="{FF2B5EF4-FFF2-40B4-BE49-F238E27FC236}">
                <a16:creationId xmlns:a16="http://schemas.microsoft.com/office/drawing/2014/main" id="{943472BF-CB82-414B-8CEE-CE32137E24F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A504161-77D0-458E-B193-66A81500C21C}"/>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20041532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74387"/>
          </a:xfrm>
        </p:spPr>
        <p:txBody>
          <a:bodyPr>
            <a:spAutoFit/>
          </a:bodyPr>
          <a:lstStyle>
            <a:lvl1pPr>
              <a:buClr>
                <a:schemeClr val="tx2"/>
              </a:buClr>
              <a:defRPr>
                <a:gradFill>
                  <a:gsLst>
                    <a:gs pos="13869">
                      <a:schemeClr val="tx2"/>
                    </a:gs>
                    <a:gs pos="42000">
                      <a:schemeClr val="tx2"/>
                    </a:gs>
                  </a:gsLst>
                  <a:lin ang="5400000" scaled="0"/>
                </a:gradFill>
              </a:defRPr>
            </a:lvl1pPr>
            <a:lvl3pPr>
              <a:defRPr sz="2206"/>
            </a:lvl3pPr>
            <a:lvl4pPr>
              <a:defRPr sz="1838"/>
            </a:lvl4pPr>
            <a:lvl5pPr>
              <a:defRPr sz="18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917758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lank Accent Color 2">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a:xfrm>
            <a:off x="269240" y="3003182"/>
            <a:ext cx="11655840" cy="899665"/>
          </a:xfrm>
        </p:spPr>
        <p:txBody>
          <a:bodyPr/>
          <a:lstStyle>
            <a:lvl1pPr>
              <a:defRPr sz="5882"/>
            </a:lvl1pPr>
          </a:lstStyle>
          <a:p>
            <a:r>
              <a:rPr lang="en-US"/>
              <a:t>Click to edit Master title style</a:t>
            </a:r>
          </a:p>
        </p:txBody>
      </p:sp>
    </p:spTree>
    <p:extLst>
      <p:ext uri="{BB962C8B-B14F-4D97-AF65-F5344CB8AC3E}">
        <p14:creationId xmlns:p14="http://schemas.microsoft.com/office/powerpoint/2010/main" val="22204019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OLUTION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635895"/>
            <a:ext cx="4979184" cy="1798544"/>
          </a:xfrm>
        </p:spPr>
        <p:txBody>
          <a:bodyPr wrap="square">
            <a:spAutoFit/>
          </a:bodyPr>
          <a:lstStyle>
            <a:lvl1pPr marL="0" indent="0">
              <a:spcBef>
                <a:spcPts val="2941"/>
              </a:spcBef>
              <a:buClr>
                <a:schemeClr val="tx1"/>
              </a:buClr>
              <a:buFont typeface="Wingdings" panose="05000000000000000000" pitchFamily="2" charset="2"/>
              <a:buNone/>
              <a:defRPr sz="2353" b="0">
                <a:solidFill>
                  <a:schemeClr val="tx2"/>
                </a:solidFill>
                <a:latin typeface="+mn-lt"/>
              </a:defRPr>
            </a:lvl1pPr>
            <a:lvl2pPr marL="0" indent="0">
              <a:buFont typeface="Wingdings" panose="05000000000000000000" pitchFamily="2" charset="2"/>
              <a:buNone/>
              <a:defRPr sz="1765" b="0"/>
            </a:lvl2pPr>
            <a:lvl3pPr marL="0" indent="0">
              <a:spcBef>
                <a:spcPts val="588"/>
              </a:spcBef>
              <a:spcAft>
                <a:spcPts val="588"/>
              </a:spcAft>
              <a:buFont typeface="Wingdings" panose="05000000000000000000" pitchFamily="2" charset="2"/>
              <a:buNone/>
              <a:tabLst/>
              <a:defRPr sz="1765" b="1">
                <a:solidFill>
                  <a:schemeClr val="tx2"/>
                </a:solidFill>
              </a:defRPr>
            </a:lvl3pPr>
            <a:lvl4pPr marL="0" indent="0">
              <a:buFont typeface="Wingdings" panose="05000000000000000000" pitchFamily="2" charset="2"/>
              <a:buNone/>
              <a:defRPr sz="1765" b="0"/>
            </a:lvl4pPr>
            <a:lvl5pPr marL="0" indent="0">
              <a:buFont typeface="Wingdings" panose="05000000000000000000" pitchFamily="2" charset="2"/>
              <a:buNone/>
              <a:tabLst/>
              <a:defRPr sz="1765"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3626481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SOLUTIONS">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tx2"/>
                  </a:solidFill>
                  <a:latin typeface="Segoe UI Semibold" panose="020B0702040204020203" pitchFamily="34" charset="0"/>
                  <a:cs typeface="Segoe UI Semibold" panose="020B0702040204020203" pitchFamily="34" charset="0"/>
                </a:rPr>
                <a:t>SOLUTIONS</a:t>
              </a:r>
              <a:endParaRPr lang="en-US" sz="1568" spc="49">
                <a:solidFill>
                  <a:schemeClr val="tx2"/>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7883648" y="6617718"/>
              <a:ext cx="1122080" cy="286232"/>
              <a:chOff x="788364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81144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78836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759210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8A8DA8E5-1A31-4187-8889-17DD5C629159}"/>
              </a:ext>
            </a:extLst>
          </p:cNvPr>
          <p:cNvSpPr>
            <a:spLocks noGrp="1"/>
          </p:cNvSpPr>
          <p:nvPr>
            <p:ph type="body" sz="quarter" idx="10"/>
          </p:nvPr>
        </p:nvSpPr>
        <p:spPr>
          <a:xfrm>
            <a:off x="226937" y="1287055"/>
            <a:ext cx="6977801" cy="1602394"/>
          </a:xfrm>
        </p:spPr>
        <p:txBody>
          <a:bodyPr/>
          <a:lstStyle>
            <a:lvl1pPr>
              <a:defRPr sz="2353">
                <a:solidFill>
                  <a:schemeClr val="tx2"/>
                </a:solidFill>
              </a:defRPr>
            </a:lvl1pPr>
            <a:lvl2pPr>
              <a:defRPr sz="1765"/>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a:extLst>
              <a:ext uri="{FF2B5EF4-FFF2-40B4-BE49-F238E27FC236}">
                <a16:creationId xmlns:a16="http://schemas.microsoft.com/office/drawing/2014/main" id="{4BB57905-B533-4E8F-B408-D575D4E2032D}"/>
              </a:ext>
            </a:extLst>
          </p:cNvPr>
          <p:cNvGrpSpPr/>
          <p:nvPr userDrawn="1"/>
        </p:nvGrpSpPr>
        <p:grpSpPr>
          <a:xfrm>
            <a:off x="4348976" y="6562986"/>
            <a:ext cx="264019" cy="199029"/>
            <a:chOff x="14466543" y="3803109"/>
            <a:chExt cx="499020" cy="376126"/>
          </a:xfrm>
          <a:noFill/>
        </p:grpSpPr>
        <p:sp>
          <p:nvSpPr>
            <p:cNvPr id="22" name="Freeform 39">
              <a:extLst>
                <a:ext uri="{FF2B5EF4-FFF2-40B4-BE49-F238E27FC236}">
                  <a16:creationId xmlns:a16="http://schemas.microsoft.com/office/drawing/2014/main" id="{46C023CE-091E-4591-97B2-3E087980618E}"/>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7" name="Freeform 40">
              <a:extLst>
                <a:ext uri="{FF2B5EF4-FFF2-40B4-BE49-F238E27FC236}">
                  <a16:creationId xmlns:a16="http://schemas.microsoft.com/office/drawing/2014/main" id="{51F51C19-93E9-4848-9F90-7D79732AD958}"/>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24344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SOLUTIONS">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tx2"/>
                  </a:solidFill>
                  <a:latin typeface="Segoe UI Semibold" panose="020B0702040204020203" pitchFamily="34" charset="0"/>
                  <a:cs typeface="Segoe UI Semibold" panose="020B0702040204020203" pitchFamily="34" charset="0"/>
                </a:rPr>
                <a:t>SOLUTIONS</a:t>
              </a:r>
              <a:endParaRPr lang="en-US" sz="1568" spc="49">
                <a:solidFill>
                  <a:schemeClr val="tx2"/>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7883648" y="6617718"/>
              <a:ext cx="1122080" cy="286232"/>
              <a:chOff x="788364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81144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78836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759210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grpSp>
        <p:nvGrpSpPr>
          <p:cNvPr id="22" name="Group 21">
            <a:extLst>
              <a:ext uri="{FF2B5EF4-FFF2-40B4-BE49-F238E27FC236}">
                <a16:creationId xmlns:a16="http://schemas.microsoft.com/office/drawing/2014/main" id="{047EB56A-E477-469E-869F-EF2B21DEA322}"/>
              </a:ext>
            </a:extLst>
          </p:cNvPr>
          <p:cNvGrpSpPr/>
          <p:nvPr userDrawn="1"/>
        </p:nvGrpSpPr>
        <p:grpSpPr>
          <a:xfrm>
            <a:off x="4348976" y="6562986"/>
            <a:ext cx="264019" cy="199029"/>
            <a:chOff x="14466543" y="3803109"/>
            <a:chExt cx="499020" cy="376126"/>
          </a:xfrm>
          <a:noFill/>
        </p:grpSpPr>
        <p:sp>
          <p:nvSpPr>
            <p:cNvPr id="27" name="Freeform 39">
              <a:extLst>
                <a:ext uri="{FF2B5EF4-FFF2-40B4-BE49-F238E27FC236}">
                  <a16:creationId xmlns:a16="http://schemas.microsoft.com/office/drawing/2014/main" id="{711D4851-450F-48CC-9686-73C006D3C343}"/>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9" name="Freeform 40">
              <a:extLst>
                <a:ext uri="{FF2B5EF4-FFF2-40B4-BE49-F238E27FC236}">
                  <a16:creationId xmlns:a16="http://schemas.microsoft.com/office/drawing/2014/main" id="{22781432-A54B-4375-B378-F693A916331C}"/>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18638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HINGS - BUILD CONTENT">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60" y="6497376"/>
            <a:ext cx="12192000" cy="372822"/>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289088" y="6520860"/>
            <a:ext cx="1362797" cy="334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4821" tIns="44821" rIns="44821" bIns="44821"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10" name="Text Placeholder 9">
            <a:extLst>
              <a:ext uri="{FF2B5EF4-FFF2-40B4-BE49-F238E27FC236}">
                <a16:creationId xmlns:a16="http://schemas.microsoft.com/office/drawing/2014/main" id="{3652C929-85B3-4637-BA2A-CEF929C4BAB4}"/>
              </a:ext>
            </a:extLst>
          </p:cNvPr>
          <p:cNvSpPr>
            <a:spLocks noGrp="1"/>
          </p:cNvSpPr>
          <p:nvPr userDrawn="1">
            <p:ph type="body" sz="quarter" idx="10"/>
          </p:nvPr>
        </p:nvSpPr>
        <p:spPr>
          <a:xfrm>
            <a:off x="269240" y="1189177"/>
            <a:ext cx="5454807" cy="1635589"/>
          </a:xfrm>
        </p:spPr>
        <p:txBody>
          <a:bodyPr/>
          <a:lstStyle>
            <a:lvl1pPr marL="0" indent="0">
              <a:buNone/>
              <a:defRPr sz="2353"/>
            </a:lvl1pPr>
            <a:lvl2pPr marL="0" indent="0">
              <a:buNone/>
              <a:defRPr sz="1765"/>
            </a:lvl2pPr>
            <a:lvl3pPr marL="0" indent="0">
              <a:buNone/>
              <a:defRPr sz="1568"/>
            </a:lvl3pPr>
            <a:lvl4pPr marL="0" indent="0">
              <a:buNone/>
              <a:defRPr sz="1568"/>
            </a:lvl4pPr>
            <a:lvl5pPr marL="0" indent="0">
              <a:buNone/>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9" name="Group 28">
            <a:extLst>
              <a:ext uri="{FF2B5EF4-FFF2-40B4-BE49-F238E27FC236}">
                <a16:creationId xmlns:a16="http://schemas.microsoft.com/office/drawing/2014/main" id="{47CDE369-62B0-48D5-90E7-E69AA62AEA12}"/>
              </a:ext>
            </a:extLst>
          </p:cNvPr>
          <p:cNvGrpSpPr/>
          <p:nvPr userDrawn="1"/>
        </p:nvGrpSpPr>
        <p:grpSpPr>
          <a:xfrm>
            <a:off x="4348976" y="6540003"/>
            <a:ext cx="7168993" cy="283511"/>
            <a:chOff x="4436182" y="6670182"/>
            <a:chExt cx="7312746" cy="289154"/>
          </a:xfrm>
        </p:grpSpPr>
        <p:sp>
          <p:nvSpPr>
            <p:cNvPr id="38" name="Rectangle 37">
              <a:extLst>
                <a:ext uri="{FF2B5EF4-FFF2-40B4-BE49-F238E27FC236}">
                  <a16:creationId xmlns:a16="http://schemas.microsoft.com/office/drawing/2014/main" id="{CE9629BE-2E71-4CF8-A353-B4C9BE23B0A0}"/>
                </a:ext>
              </a:extLst>
            </p:cNvPr>
            <p:cNvSpPr/>
            <p:nvPr/>
          </p:nvSpPr>
          <p:spPr bwMode="auto">
            <a:xfrm>
              <a:off x="4772812" y="6671070"/>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39" name="Group 38">
              <a:extLst>
                <a:ext uri="{FF2B5EF4-FFF2-40B4-BE49-F238E27FC236}">
                  <a16:creationId xmlns:a16="http://schemas.microsoft.com/office/drawing/2014/main" id="{F79B1076-0C8A-4B69-A589-1871A4A59C58}"/>
                </a:ext>
              </a:extLst>
            </p:cNvPr>
            <p:cNvGrpSpPr/>
            <p:nvPr userDrawn="1"/>
          </p:nvGrpSpPr>
          <p:grpSpPr>
            <a:xfrm>
              <a:off x="8656638" y="6670182"/>
              <a:ext cx="1415967" cy="288007"/>
              <a:chOff x="8656638" y="6670182"/>
              <a:chExt cx="1415967" cy="288007"/>
            </a:xfrm>
          </p:grpSpPr>
          <p:grpSp>
            <p:nvGrpSpPr>
              <p:cNvPr id="53" name="Group 52">
                <a:extLst>
                  <a:ext uri="{FF2B5EF4-FFF2-40B4-BE49-F238E27FC236}">
                    <a16:creationId xmlns:a16="http://schemas.microsoft.com/office/drawing/2014/main" id="{AA26938F-FEC4-4F6A-BB3A-1EF568BCB774}"/>
                  </a:ext>
                </a:extLst>
              </p:cNvPr>
              <p:cNvGrpSpPr/>
              <p:nvPr userDrawn="1"/>
            </p:nvGrpSpPr>
            <p:grpSpPr>
              <a:xfrm>
                <a:off x="8903631" y="6670182"/>
                <a:ext cx="1168974" cy="288007"/>
                <a:chOff x="8903631" y="6616830"/>
                <a:chExt cx="1168974" cy="288007"/>
              </a:xfrm>
            </p:grpSpPr>
            <p:sp>
              <p:nvSpPr>
                <p:cNvPr id="55" name="Rectangle 54">
                  <a:extLst>
                    <a:ext uri="{FF2B5EF4-FFF2-40B4-BE49-F238E27FC236}">
                      <a16:creationId xmlns:a16="http://schemas.microsoft.com/office/drawing/2014/main" id="{67B1E59D-93F4-44F1-870A-8FA8C1DD9E70}"/>
                    </a:ext>
                  </a:extLst>
                </p:cNvPr>
                <p:cNvSpPr/>
                <p:nvPr/>
              </p:nvSpPr>
              <p:spPr bwMode="auto">
                <a:xfrm>
                  <a:off x="91308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56" name="magnify">
                  <a:extLst>
                    <a:ext uri="{FF2B5EF4-FFF2-40B4-BE49-F238E27FC236}">
                      <a16:creationId xmlns:a16="http://schemas.microsoft.com/office/drawing/2014/main" id="{90DFFDFA-1BC8-40B6-B576-7CA324A39A6A}"/>
                    </a:ext>
                  </a:extLst>
                </p:cNvPr>
                <p:cNvSpPr>
                  <a:spLocks noChangeAspect="1" noEditPoints="1"/>
                </p:cNvSpPr>
                <p:nvPr/>
              </p:nvSpPr>
              <p:spPr bwMode="auto">
                <a:xfrm rot="786292" flipH="1">
                  <a:off x="89036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54" name="Straight Connector 53">
                <a:extLst>
                  <a:ext uri="{FF2B5EF4-FFF2-40B4-BE49-F238E27FC236}">
                    <a16:creationId xmlns:a16="http://schemas.microsoft.com/office/drawing/2014/main" id="{3BB37E1B-1178-4ED1-96C0-D98D4A4055D4}"/>
                  </a:ext>
                </a:extLst>
              </p:cNvPr>
              <p:cNvCxnSpPr/>
              <p:nvPr userDrawn="1"/>
            </p:nvCxnSpPr>
            <p:spPr>
              <a:xfrm>
                <a:off x="8656638"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FD83702-1CE6-4D01-A452-77570E2D5997}"/>
                </a:ext>
              </a:extLst>
            </p:cNvPr>
            <p:cNvGrpSpPr/>
            <p:nvPr userDrawn="1"/>
          </p:nvGrpSpPr>
          <p:grpSpPr>
            <a:xfrm>
              <a:off x="10335302" y="6671070"/>
              <a:ext cx="1413626" cy="286232"/>
              <a:chOff x="10335302" y="6671070"/>
              <a:chExt cx="1413626" cy="286232"/>
            </a:xfrm>
          </p:grpSpPr>
          <p:grpSp>
            <p:nvGrpSpPr>
              <p:cNvPr id="49" name="Group 48">
                <a:extLst>
                  <a:ext uri="{FF2B5EF4-FFF2-40B4-BE49-F238E27FC236}">
                    <a16:creationId xmlns:a16="http://schemas.microsoft.com/office/drawing/2014/main" id="{43326481-A0AB-47AF-A496-3AD6A81A7020}"/>
                  </a:ext>
                </a:extLst>
              </p:cNvPr>
              <p:cNvGrpSpPr/>
              <p:nvPr userDrawn="1"/>
            </p:nvGrpSpPr>
            <p:grpSpPr>
              <a:xfrm>
                <a:off x="10626848" y="6671070"/>
                <a:ext cx="1122080" cy="286232"/>
                <a:chOff x="10626848" y="6617718"/>
                <a:chExt cx="1122080" cy="286232"/>
              </a:xfrm>
            </p:grpSpPr>
            <p:sp>
              <p:nvSpPr>
                <p:cNvPr id="51" name="Rectangle 50">
                  <a:extLst>
                    <a:ext uri="{FF2B5EF4-FFF2-40B4-BE49-F238E27FC236}">
                      <a16:creationId xmlns:a16="http://schemas.microsoft.com/office/drawing/2014/main" id="{5B1A089B-7DF1-42F8-A474-7D03431A9987}"/>
                    </a:ext>
                  </a:extLst>
                </p:cNvPr>
                <p:cNvSpPr/>
                <p:nvPr/>
              </p:nvSpPr>
              <p:spPr bwMode="auto">
                <a:xfrm>
                  <a:off x="108576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52" name="arrow">
                  <a:extLst>
                    <a:ext uri="{FF2B5EF4-FFF2-40B4-BE49-F238E27FC236}">
                      <a16:creationId xmlns:a16="http://schemas.microsoft.com/office/drawing/2014/main" id="{89826F0F-C2AC-422D-BA92-D996F980B860}"/>
                    </a:ext>
                  </a:extLst>
                </p:cNvPr>
                <p:cNvSpPr>
                  <a:spLocks noChangeAspect="1" noEditPoints="1"/>
                </p:cNvSpPr>
                <p:nvPr/>
              </p:nvSpPr>
              <p:spPr bwMode="auto">
                <a:xfrm>
                  <a:off x="106268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50" name="Straight Connector 49">
                <a:extLst>
                  <a:ext uri="{FF2B5EF4-FFF2-40B4-BE49-F238E27FC236}">
                    <a16:creationId xmlns:a16="http://schemas.microsoft.com/office/drawing/2014/main" id="{0F26FC1E-5F9F-46A0-BDBD-F517A1503407}"/>
                  </a:ext>
                </a:extLst>
              </p:cNvPr>
              <p:cNvCxnSpPr/>
              <p:nvPr userDrawn="1"/>
            </p:nvCxnSpPr>
            <p:spPr>
              <a:xfrm>
                <a:off x="10335302"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ED2CFB3D-6590-479A-912E-0447F5688E4E}"/>
                </a:ext>
              </a:extLst>
            </p:cNvPr>
            <p:cNvGrpSpPr/>
            <p:nvPr userDrawn="1"/>
          </p:nvGrpSpPr>
          <p:grpSpPr>
            <a:xfrm>
              <a:off x="5712857" y="6671330"/>
              <a:ext cx="2663262" cy="288006"/>
              <a:chOff x="5732591" y="6671330"/>
              <a:chExt cx="2663262" cy="288006"/>
            </a:xfrm>
          </p:grpSpPr>
          <p:sp>
            <p:nvSpPr>
              <p:cNvPr id="46" name="Rectangle 45">
                <a:extLst>
                  <a:ext uri="{FF2B5EF4-FFF2-40B4-BE49-F238E27FC236}">
                    <a16:creationId xmlns:a16="http://schemas.microsoft.com/office/drawing/2014/main" id="{DC42153F-F302-4637-A7B4-90EA53AF7E57}"/>
                  </a:ext>
                </a:extLst>
              </p:cNvPr>
              <p:cNvSpPr/>
              <p:nvPr userDrawn="1"/>
            </p:nvSpPr>
            <p:spPr bwMode="auto">
              <a:xfrm>
                <a:off x="5732591" y="6671330"/>
                <a:ext cx="713577" cy="288006"/>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Build</a:t>
                </a:r>
              </a:p>
            </p:txBody>
          </p:sp>
          <p:sp>
            <p:nvSpPr>
              <p:cNvPr id="47" name="Rectangle 46">
                <a:extLst>
                  <a:ext uri="{FF2B5EF4-FFF2-40B4-BE49-F238E27FC236}">
                    <a16:creationId xmlns:a16="http://schemas.microsoft.com/office/drawing/2014/main" id="{DB672244-52D0-4839-A6E3-4677EFA32C44}"/>
                  </a:ext>
                </a:extLst>
              </p:cNvPr>
              <p:cNvSpPr/>
              <p:nvPr userDrawn="1"/>
            </p:nvSpPr>
            <p:spPr bwMode="auto">
              <a:xfrm>
                <a:off x="6446425" y="6672216"/>
                <a:ext cx="979114"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Connect</a:t>
                </a:r>
              </a:p>
            </p:txBody>
          </p:sp>
          <p:sp>
            <p:nvSpPr>
              <p:cNvPr id="48" name="Rectangle 47">
                <a:extLst>
                  <a:ext uri="{FF2B5EF4-FFF2-40B4-BE49-F238E27FC236}">
                    <a16:creationId xmlns:a16="http://schemas.microsoft.com/office/drawing/2014/main" id="{00ACEFEF-E45C-4E93-BC6C-C4565D4A30EA}"/>
                  </a:ext>
                </a:extLst>
              </p:cNvPr>
              <p:cNvSpPr/>
              <p:nvPr userDrawn="1"/>
            </p:nvSpPr>
            <p:spPr bwMode="auto">
              <a:xfrm>
                <a:off x="7434371" y="6672216"/>
                <a:ext cx="961482"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Manage</a:t>
                </a:r>
              </a:p>
            </p:txBody>
          </p:sp>
        </p:grpSp>
        <p:grpSp>
          <p:nvGrpSpPr>
            <p:cNvPr id="42" name="Group 41">
              <a:extLst>
                <a:ext uri="{FF2B5EF4-FFF2-40B4-BE49-F238E27FC236}">
                  <a16:creationId xmlns:a16="http://schemas.microsoft.com/office/drawing/2014/main" id="{97C96FAC-D961-4AF6-8D2E-FB9CE6972EF9}"/>
                </a:ext>
              </a:extLst>
            </p:cNvPr>
            <p:cNvGrpSpPr/>
            <p:nvPr userDrawn="1"/>
          </p:nvGrpSpPr>
          <p:grpSpPr>
            <a:xfrm>
              <a:off x="4436182" y="6693638"/>
              <a:ext cx="269313" cy="202991"/>
              <a:chOff x="14466543" y="3803109"/>
              <a:chExt cx="499020" cy="376126"/>
            </a:xfrm>
            <a:noFill/>
          </p:grpSpPr>
          <p:sp>
            <p:nvSpPr>
              <p:cNvPr id="44" name="Freeform 39">
                <a:extLst>
                  <a:ext uri="{FF2B5EF4-FFF2-40B4-BE49-F238E27FC236}">
                    <a16:creationId xmlns:a16="http://schemas.microsoft.com/office/drawing/2014/main" id="{A29E8665-75AA-4023-8196-93EC895E39C4}"/>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45" name="Freeform 40">
                <a:extLst>
                  <a:ext uri="{FF2B5EF4-FFF2-40B4-BE49-F238E27FC236}">
                    <a16:creationId xmlns:a16="http://schemas.microsoft.com/office/drawing/2014/main" id="{F4848722-B8E1-40CB-B7A0-4D00754C2DEE}"/>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cxnSp>
          <p:nvCxnSpPr>
            <p:cNvPr id="43" name="Straight Connector 42">
              <a:extLst>
                <a:ext uri="{FF2B5EF4-FFF2-40B4-BE49-F238E27FC236}">
                  <a16:creationId xmlns:a16="http://schemas.microsoft.com/office/drawing/2014/main" id="{AC3A5828-D50A-4798-AB27-C0B4FA57A9BF}"/>
                </a:ext>
              </a:extLst>
            </p:cNvPr>
            <p:cNvCxnSpPr/>
            <p:nvPr userDrawn="1"/>
          </p:nvCxnSpPr>
          <p:spPr>
            <a:xfrm>
              <a:off x="5645539"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714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HINGS - Connect TITL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60" y="6497376"/>
            <a:ext cx="12192000" cy="372822"/>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289088" y="6520860"/>
            <a:ext cx="1362797" cy="334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4821" tIns="44821" rIns="44821" bIns="44821"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A6866F45-B0CE-4CA7-80BB-4B63AD55B8F8}"/>
              </a:ext>
            </a:extLst>
          </p:cNvPr>
          <p:cNvSpPr>
            <a:spLocks noGrp="1"/>
          </p:cNvSpPr>
          <p:nvPr userDrawn="1">
            <p:ph type="body" sz="quarter" idx="10"/>
          </p:nvPr>
        </p:nvSpPr>
        <p:spPr>
          <a:xfrm>
            <a:off x="269332" y="2207687"/>
            <a:ext cx="3944269" cy="1523934"/>
          </a:xfrm>
        </p:spPr>
        <p:txBody>
          <a:bodyPr/>
          <a:lstStyle>
            <a:lvl1pPr>
              <a:defRPr sz="1961">
                <a:latin typeface="+mn-lt"/>
              </a:defRPr>
            </a:lvl1pPr>
            <a:lvl2pPr>
              <a:spcAft>
                <a:spcPts val="588"/>
              </a:spcAft>
              <a:defRPr sz="1568">
                <a:latin typeface="+mn-lt"/>
              </a:defRPr>
            </a:lvl2pPr>
            <a:lvl3pPr>
              <a:defRPr sz="1372">
                <a:latin typeface="+mn-lt"/>
              </a:defRPr>
            </a:lvl3pPr>
            <a:lvl4pPr>
              <a:defRPr sz="1372">
                <a:latin typeface="+mn-lt"/>
              </a:defRPr>
            </a:lvl4pPr>
            <a:lvl5pPr>
              <a:defRPr sz="1372">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9" name="Group 28">
            <a:extLst>
              <a:ext uri="{FF2B5EF4-FFF2-40B4-BE49-F238E27FC236}">
                <a16:creationId xmlns:a16="http://schemas.microsoft.com/office/drawing/2014/main" id="{D779D92A-883E-425D-9598-71C85729CE99}"/>
              </a:ext>
            </a:extLst>
          </p:cNvPr>
          <p:cNvGrpSpPr/>
          <p:nvPr userDrawn="1"/>
        </p:nvGrpSpPr>
        <p:grpSpPr>
          <a:xfrm>
            <a:off x="4348976" y="6540003"/>
            <a:ext cx="7168993" cy="283511"/>
            <a:chOff x="4436182" y="6670182"/>
            <a:chExt cx="7312746" cy="289154"/>
          </a:xfrm>
        </p:grpSpPr>
        <p:sp>
          <p:nvSpPr>
            <p:cNvPr id="33" name="Rectangle 32">
              <a:extLst>
                <a:ext uri="{FF2B5EF4-FFF2-40B4-BE49-F238E27FC236}">
                  <a16:creationId xmlns:a16="http://schemas.microsoft.com/office/drawing/2014/main" id="{D65B7C7C-6915-4A29-9DFC-B8563A0EC74E}"/>
                </a:ext>
              </a:extLst>
            </p:cNvPr>
            <p:cNvSpPr/>
            <p:nvPr/>
          </p:nvSpPr>
          <p:spPr bwMode="auto">
            <a:xfrm>
              <a:off x="4772812" y="6671070"/>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38" name="Group 37">
              <a:extLst>
                <a:ext uri="{FF2B5EF4-FFF2-40B4-BE49-F238E27FC236}">
                  <a16:creationId xmlns:a16="http://schemas.microsoft.com/office/drawing/2014/main" id="{5BAA8E1B-0679-48E7-BEAF-357633F80E63}"/>
                </a:ext>
              </a:extLst>
            </p:cNvPr>
            <p:cNvGrpSpPr/>
            <p:nvPr userDrawn="1"/>
          </p:nvGrpSpPr>
          <p:grpSpPr>
            <a:xfrm>
              <a:off x="8656638" y="6670182"/>
              <a:ext cx="1415967" cy="288007"/>
              <a:chOff x="8656638" y="6670182"/>
              <a:chExt cx="1415967" cy="288007"/>
            </a:xfrm>
          </p:grpSpPr>
          <p:grpSp>
            <p:nvGrpSpPr>
              <p:cNvPr id="52" name="Group 51">
                <a:extLst>
                  <a:ext uri="{FF2B5EF4-FFF2-40B4-BE49-F238E27FC236}">
                    <a16:creationId xmlns:a16="http://schemas.microsoft.com/office/drawing/2014/main" id="{A0DAC9F8-F2E0-490D-AED5-9A7C7782D508}"/>
                  </a:ext>
                </a:extLst>
              </p:cNvPr>
              <p:cNvGrpSpPr/>
              <p:nvPr userDrawn="1"/>
            </p:nvGrpSpPr>
            <p:grpSpPr>
              <a:xfrm>
                <a:off x="8903631" y="6670182"/>
                <a:ext cx="1168974" cy="288007"/>
                <a:chOff x="8903631" y="6616830"/>
                <a:chExt cx="1168974" cy="288007"/>
              </a:xfrm>
            </p:grpSpPr>
            <p:sp>
              <p:nvSpPr>
                <p:cNvPr id="54" name="Rectangle 53">
                  <a:extLst>
                    <a:ext uri="{FF2B5EF4-FFF2-40B4-BE49-F238E27FC236}">
                      <a16:creationId xmlns:a16="http://schemas.microsoft.com/office/drawing/2014/main" id="{42E91357-42E4-4E39-9923-13AA5BB7BAC6}"/>
                    </a:ext>
                  </a:extLst>
                </p:cNvPr>
                <p:cNvSpPr/>
                <p:nvPr/>
              </p:nvSpPr>
              <p:spPr bwMode="auto">
                <a:xfrm>
                  <a:off x="91308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55" name="magnify">
                  <a:extLst>
                    <a:ext uri="{FF2B5EF4-FFF2-40B4-BE49-F238E27FC236}">
                      <a16:creationId xmlns:a16="http://schemas.microsoft.com/office/drawing/2014/main" id="{98DABD1F-9CB5-43E2-8547-5CAE28DB4C5A}"/>
                    </a:ext>
                  </a:extLst>
                </p:cNvPr>
                <p:cNvSpPr>
                  <a:spLocks noChangeAspect="1" noEditPoints="1"/>
                </p:cNvSpPr>
                <p:nvPr/>
              </p:nvSpPr>
              <p:spPr bwMode="auto">
                <a:xfrm rot="786292" flipH="1">
                  <a:off x="89036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53" name="Straight Connector 52">
                <a:extLst>
                  <a:ext uri="{FF2B5EF4-FFF2-40B4-BE49-F238E27FC236}">
                    <a16:creationId xmlns:a16="http://schemas.microsoft.com/office/drawing/2014/main" id="{06416179-4AC0-4DEF-A6A6-14CCEDFF97DC}"/>
                  </a:ext>
                </a:extLst>
              </p:cNvPr>
              <p:cNvCxnSpPr/>
              <p:nvPr userDrawn="1"/>
            </p:nvCxnSpPr>
            <p:spPr>
              <a:xfrm>
                <a:off x="8656638"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BCF9BFC8-7E25-44C9-9120-9CF302E7A568}"/>
                </a:ext>
              </a:extLst>
            </p:cNvPr>
            <p:cNvGrpSpPr/>
            <p:nvPr userDrawn="1"/>
          </p:nvGrpSpPr>
          <p:grpSpPr>
            <a:xfrm>
              <a:off x="10335302" y="6671070"/>
              <a:ext cx="1413626" cy="286232"/>
              <a:chOff x="10335302" y="6671070"/>
              <a:chExt cx="1413626" cy="286232"/>
            </a:xfrm>
          </p:grpSpPr>
          <p:grpSp>
            <p:nvGrpSpPr>
              <p:cNvPr id="48" name="Group 47">
                <a:extLst>
                  <a:ext uri="{FF2B5EF4-FFF2-40B4-BE49-F238E27FC236}">
                    <a16:creationId xmlns:a16="http://schemas.microsoft.com/office/drawing/2014/main" id="{6A5D6353-6C8A-433D-BBB2-419687BC4C9F}"/>
                  </a:ext>
                </a:extLst>
              </p:cNvPr>
              <p:cNvGrpSpPr/>
              <p:nvPr userDrawn="1"/>
            </p:nvGrpSpPr>
            <p:grpSpPr>
              <a:xfrm>
                <a:off x="10626848" y="6671070"/>
                <a:ext cx="1122080" cy="286232"/>
                <a:chOff x="10626848" y="6617718"/>
                <a:chExt cx="1122080" cy="286232"/>
              </a:xfrm>
            </p:grpSpPr>
            <p:sp>
              <p:nvSpPr>
                <p:cNvPr id="50" name="Rectangle 49">
                  <a:extLst>
                    <a:ext uri="{FF2B5EF4-FFF2-40B4-BE49-F238E27FC236}">
                      <a16:creationId xmlns:a16="http://schemas.microsoft.com/office/drawing/2014/main" id="{B5E8CE67-26E2-4F6A-AECF-30B8C74383FF}"/>
                    </a:ext>
                  </a:extLst>
                </p:cNvPr>
                <p:cNvSpPr/>
                <p:nvPr/>
              </p:nvSpPr>
              <p:spPr bwMode="auto">
                <a:xfrm>
                  <a:off x="108576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51" name="arrow">
                  <a:extLst>
                    <a:ext uri="{FF2B5EF4-FFF2-40B4-BE49-F238E27FC236}">
                      <a16:creationId xmlns:a16="http://schemas.microsoft.com/office/drawing/2014/main" id="{0E985106-4431-4228-8246-A67393B338C2}"/>
                    </a:ext>
                  </a:extLst>
                </p:cNvPr>
                <p:cNvSpPr>
                  <a:spLocks noChangeAspect="1" noEditPoints="1"/>
                </p:cNvSpPr>
                <p:nvPr/>
              </p:nvSpPr>
              <p:spPr bwMode="auto">
                <a:xfrm>
                  <a:off x="106268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49" name="Straight Connector 48">
                <a:extLst>
                  <a:ext uri="{FF2B5EF4-FFF2-40B4-BE49-F238E27FC236}">
                    <a16:creationId xmlns:a16="http://schemas.microsoft.com/office/drawing/2014/main" id="{02B38776-06DD-4AE8-8864-0E434F924C0B}"/>
                  </a:ext>
                </a:extLst>
              </p:cNvPr>
              <p:cNvCxnSpPr/>
              <p:nvPr userDrawn="1"/>
            </p:nvCxnSpPr>
            <p:spPr>
              <a:xfrm>
                <a:off x="10335302"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FEA5150-9852-4FC5-AE4C-DA4595057A2D}"/>
                </a:ext>
              </a:extLst>
            </p:cNvPr>
            <p:cNvGrpSpPr/>
            <p:nvPr userDrawn="1"/>
          </p:nvGrpSpPr>
          <p:grpSpPr>
            <a:xfrm>
              <a:off x="5712857" y="6671330"/>
              <a:ext cx="2663262" cy="288006"/>
              <a:chOff x="5732591" y="6671330"/>
              <a:chExt cx="2663262" cy="288006"/>
            </a:xfrm>
          </p:grpSpPr>
          <p:sp>
            <p:nvSpPr>
              <p:cNvPr id="45" name="Rectangle 44">
                <a:extLst>
                  <a:ext uri="{FF2B5EF4-FFF2-40B4-BE49-F238E27FC236}">
                    <a16:creationId xmlns:a16="http://schemas.microsoft.com/office/drawing/2014/main" id="{928D4D7F-64D0-4E15-A666-22C66E19C42A}"/>
                  </a:ext>
                </a:extLst>
              </p:cNvPr>
              <p:cNvSpPr/>
              <p:nvPr userDrawn="1"/>
            </p:nvSpPr>
            <p:spPr bwMode="auto">
              <a:xfrm>
                <a:off x="5732591" y="6671330"/>
                <a:ext cx="713577" cy="288006"/>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kern="1200"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Build</a:t>
                </a:r>
              </a:p>
            </p:txBody>
          </p:sp>
          <p:sp>
            <p:nvSpPr>
              <p:cNvPr id="46" name="Rectangle 45">
                <a:extLst>
                  <a:ext uri="{FF2B5EF4-FFF2-40B4-BE49-F238E27FC236}">
                    <a16:creationId xmlns:a16="http://schemas.microsoft.com/office/drawing/2014/main" id="{4092AA24-8110-44A8-98A2-4E4544BDF2B2}"/>
                  </a:ext>
                </a:extLst>
              </p:cNvPr>
              <p:cNvSpPr/>
              <p:nvPr userDrawn="1"/>
            </p:nvSpPr>
            <p:spPr bwMode="auto">
              <a:xfrm>
                <a:off x="6446425" y="6672216"/>
                <a:ext cx="979114"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Connect</a:t>
                </a:r>
              </a:p>
            </p:txBody>
          </p:sp>
          <p:sp>
            <p:nvSpPr>
              <p:cNvPr id="47" name="Rectangle 46">
                <a:extLst>
                  <a:ext uri="{FF2B5EF4-FFF2-40B4-BE49-F238E27FC236}">
                    <a16:creationId xmlns:a16="http://schemas.microsoft.com/office/drawing/2014/main" id="{EE2C67B3-E826-400D-89C1-437DE54DDA76}"/>
                  </a:ext>
                </a:extLst>
              </p:cNvPr>
              <p:cNvSpPr/>
              <p:nvPr userDrawn="1"/>
            </p:nvSpPr>
            <p:spPr bwMode="auto">
              <a:xfrm>
                <a:off x="7434371" y="6672216"/>
                <a:ext cx="961482"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Manage</a:t>
                </a:r>
              </a:p>
            </p:txBody>
          </p:sp>
        </p:grpSp>
        <p:grpSp>
          <p:nvGrpSpPr>
            <p:cNvPr id="41" name="Group 40">
              <a:extLst>
                <a:ext uri="{FF2B5EF4-FFF2-40B4-BE49-F238E27FC236}">
                  <a16:creationId xmlns:a16="http://schemas.microsoft.com/office/drawing/2014/main" id="{B021FF54-582F-4244-A8FF-36340528ADF7}"/>
                </a:ext>
              </a:extLst>
            </p:cNvPr>
            <p:cNvGrpSpPr/>
            <p:nvPr userDrawn="1"/>
          </p:nvGrpSpPr>
          <p:grpSpPr>
            <a:xfrm>
              <a:off x="4436182" y="6693638"/>
              <a:ext cx="269313" cy="202991"/>
              <a:chOff x="14466543" y="3803109"/>
              <a:chExt cx="499020" cy="376126"/>
            </a:xfrm>
            <a:noFill/>
          </p:grpSpPr>
          <p:sp>
            <p:nvSpPr>
              <p:cNvPr id="43" name="Freeform 39">
                <a:extLst>
                  <a:ext uri="{FF2B5EF4-FFF2-40B4-BE49-F238E27FC236}">
                    <a16:creationId xmlns:a16="http://schemas.microsoft.com/office/drawing/2014/main" id="{70821764-0DFF-46C7-BD9C-D6EDDCF18F41}"/>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44" name="Freeform 40">
                <a:extLst>
                  <a:ext uri="{FF2B5EF4-FFF2-40B4-BE49-F238E27FC236}">
                    <a16:creationId xmlns:a16="http://schemas.microsoft.com/office/drawing/2014/main" id="{E89A936A-5249-47AE-9D56-B649E00CFCC1}"/>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cxnSp>
          <p:nvCxnSpPr>
            <p:cNvPr id="42" name="Straight Connector 41">
              <a:extLst>
                <a:ext uri="{FF2B5EF4-FFF2-40B4-BE49-F238E27FC236}">
                  <a16:creationId xmlns:a16="http://schemas.microsoft.com/office/drawing/2014/main" id="{63B7FC49-8849-4B69-9016-335F7DFF72E4}"/>
                </a:ext>
              </a:extLst>
            </p:cNvPr>
            <p:cNvCxnSpPr/>
            <p:nvPr userDrawn="1"/>
          </p:nvCxnSpPr>
          <p:spPr>
            <a:xfrm>
              <a:off x="5645539"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Text Placeholder 2">
            <a:extLst>
              <a:ext uri="{FF2B5EF4-FFF2-40B4-BE49-F238E27FC236}">
                <a16:creationId xmlns:a16="http://schemas.microsoft.com/office/drawing/2014/main" id="{E17A0F35-8688-49DA-B0F6-585530E69415}"/>
              </a:ext>
            </a:extLst>
          </p:cNvPr>
          <p:cNvSpPr>
            <a:spLocks noGrp="1"/>
          </p:cNvSpPr>
          <p:nvPr>
            <p:ph type="body" sz="quarter" idx="11"/>
          </p:nvPr>
        </p:nvSpPr>
        <p:spPr>
          <a:xfrm>
            <a:off x="4240397" y="2207687"/>
            <a:ext cx="3944269" cy="1523934"/>
          </a:xfrm>
        </p:spPr>
        <p:txBody>
          <a:bodyPr/>
          <a:lstStyle>
            <a:lvl1pPr>
              <a:defRPr sz="1961">
                <a:latin typeface="+mn-lt"/>
              </a:defRPr>
            </a:lvl1pPr>
            <a:lvl2pPr>
              <a:spcAft>
                <a:spcPts val="588"/>
              </a:spcAft>
              <a:defRPr sz="1568">
                <a:latin typeface="+mn-lt"/>
              </a:defRPr>
            </a:lvl2pPr>
            <a:lvl3pPr>
              <a:defRPr sz="1372">
                <a:latin typeface="+mn-lt"/>
              </a:defRPr>
            </a:lvl3pPr>
            <a:lvl4pPr>
              <a:defRPr sz="1372">
                <a:latin typeface="+mn-lt"/>
              </a:defRPr>
            </a:lvl4pPr>
            <a:lvl5pPr>
              <a:defRPr sz="1372">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
            <a:extLst>
              <a:ext uri="{FF2B5EF4-FFF2-40B4-BE49-F238E27FC236}">
                <a16:creationId xmlns:a16="http://schemas.microsoft.com/office/drawing/2014/main" id="{154A4BCA-DE8F-40FC-81B1-F99844354FD5}"/>
              </a:ext>
            </a:extLst>
          </p:cNvPr>
          <p:cNvSpPr>
            <a:spLocks noGrp="1"/>
          </p:cNvSpPr>
          <p:nvPr>
            <p:ph type="body" sz="quarter" idx="12"/>
          </p:nvPr>
        </p:nvSpPr>
        <p:spPr>
          <a:xfrm>
            <a:off x="8211462" y="2207687"/>
            <a:ext cx="3675342" cy="1523934"/>
          </a:xfrm>
        </p:spPr>
        <p:txBody>
          <a:bodyPr/>
          <a:lstStyle>
            <a:lvl1pPr>
              <a:defRPr sz="1961">
                <a:latin typeface="+mn-lt"/>
              </a:defRPr>
            </a:lvl1pPr>
            <a:lvl2pPr>
              <a:spcAft>
                <a:spcPts val="588"/>
              </a:spcAft>
              <a:defRPr sz="1568">
                <a:latin typeface="+mn-lt"/>
              </a:defRPr>
            </a:lvl2pPr>
            <a:lvl3pPr>
              <a:defRPr sz="1372">
                <a:latin typeface="+mn-lt"/>
              </a:defRPr>
            </a:lvl3pPr>
            <a:lvl4pPr>
              <a:defRPr sz="1372">
                <a:latin typeface="+mn-lt"/>
              </a:defRPr>
            </a:lvl4pPr>
            <a:lvl5pPr>
              <a:defRPr sz="1372">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66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HINGS - Connect TITL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60" y="6497376"/>
            <a:ext cx="12192000" cy="372822"/>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289088" y="6520860"/>
            <a:ext cx="1362797" cy="334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4821" tIns="44821" rIns="44821" bIns="44821"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grpSp>
        <p:nvGrpSpPr>
          <p:cNvPr id="29" name="Group 28">
            <a:extLst>
              <a:ext uri="{FF2B5EF4-FFF2-40B4-BE49-F238E27FC236}">
                <a16:creationId xmlns:a16="http://schemas.microsoft.com/office/drawing/2014/main" id="{D779D92A-883E-425D-9598-71C85729CE99}"/>
              </a:ext>
            </a:extLst>
          </p:cNvPr>
          <p:cNvGrpSpPr/>
          <p:nvPr userDrawn="1"/>
        </p:nvGrpSpPr>
        <p:grpSpPr>
          <a:xfrm>
            <a:off x="4348976" y="6540003"/>
            <a:ext cx="7168993" cy="283511"/>
            <a:chOff x="4436182" y="6670182"/>
            <a:chExt cx="7312746" cy="289154"/>
          </a:xfrm>
        </p:grpSpPr>
        <p:sp>
          <p:nvSpPr>
            <p:cNvPr id="33" name="Rectangle 32">
              <a:extLst>
                <a:ext uri="{FF2B5EF4-FFF2-40B4-BE49-F238E27FC236}">
                  <a16:creationId xmlns:a16="http://schemas.microsoft.com/office/drawing/2014/main" id="{D65B7C7C-6915-4A29-9DFC-B8563A0EC74E}"/>
                </a:ext>
              </a:extLst>
            </p:cNvPr>
            <p:cNvSpPr/>
            <p:nvPr/>
          </p:nvSpPr>
          <p:spPr bwMode="auto">
            <a:xfrm>
              <a:off x="4772812" y="6671070"/>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38" name="Group 37">
              <a:extLst>
                <a:ext uri="{FF2B5EF4-FFF2-40B4-BE49-F238E27FC236}">
                  <a16:creationId xmlns:a16="http://schemas.microsoft.com/office/drawing/2014/main" id="{5BAA8E1B-0679-48E7-BEAF-357633F80E63}"/>
                </a:ext>
              </a:extLst>
            </p:cNvPr>
            <p:cNvGrpSpPr/>
            <p:nvPr userDrawn="1"/>
          </p:nvGrpSpPr>
          <p:grpSpPr>
            <a:xfrm>
              <a:off x="8656638" y="6670182"/>
              <a:ext cx="1415967" cy="288007"/>
              <a:chOff x="8656638" y="6670182"/>
              <a:chExt cx="1415967" cy="288007"/>
            </a:xfrm>
          </p:grpSpPr>
          <p:grpSp>
            <p:nvGrpSpPr>
              <p:cNvPr id="52" name="Group 51">
                <a:extLst>
                  <a:ext uri="{FF2B5EF4-FFF2-40B4-BE49-F238E27FC236}">
                    <a16:creationId xmlns:a16="http://schemas.microsoft.com/office/drawing/2014/main" id="{A0DAC9F8-F2E0-490D-AED5-9A7C7782D508}"/>
                  </a:ext>
                </a:extLst>
              </p:cNvPr>
              <p:cNvGrpSpPr/>
              <p:nvPr userDrawn="1"/>
            </p:nvGrpSpPr>
            <p:grpSpPr>
              <a:xfrm>
                <a:off x="8903631" y="6670182"/>
                <a:ext cx="1168974" cy="288007"/>
                <a:chOff x="8903631" y="6616830"/>
                <a:chExt cx="1168974" cy="288007"/>
              </a:xfrm>
            </p:grpSpPr>
            <p:sp>
              <p:nvSpPr>
                <p:cNvPr id="54" name="Rectangle 53">
                  <a:extLst>
                    <a:ext uri="{FF2B5EF4-FFF2-40B4-BE49-F238E27FC236}">
                      <a16:creationId xmlns:a16="http://schemas.microsoft.com/office/drawing/2014/main" id="{42E91357-42E4-4E39-9923-13AA5BB7BAC6}"/>
                    </a:ext>
                  </a:extLst>
                </p:cNvPr>
                <p:cNvSpPr/>
                <p:nvPr/>
              </p:nvSpPr>
              <p:spPr bwMode="auto">
                <a:xfrm>
                  <a:off x="91308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55" name="magnify">
                  <a:extLst>
                    <a:ext uri="{FF2B5EF4-FFF2-40B4-BE49-F238E27FC236}">
                      <a16:creationId xmlns:a16="http://schemas.microsoft.com/office/drawing/2014/main" id="{98DABD1F-9CB5-43E2-8547-5CAE28DB4C5A}"/>
                    </a:ext>
                  </a:extLst>
                </p:cNvPr>
                <p:cNvSpPr>
                  <a:spLocks noChangeAspect="1" noEditPoints="1"/>
                </p:cNvSpPr>
                <p:nvPr/>
              </p:nvSpPr>
              <p:spPr bwMode="auto">
                <a:xfrm rot="786292" flipH="1">
                  <a:off x="89036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53" name="Straight Connector 52">
                <a:extLst>
                  <a:ext uri="{FF2B5EF4-FFF2-40B4-BE49-F238E27FC236}">
                    <a16:creationId xmlns:a16="http://schemas.microsoft.com/office/drawing/2014/main" id="{06416179-4AC0-4DEF-A6A6-14CCEDFF97DC}"/>
                  </a:ext>
                </a:extLst>
              </p:cNvPr>
              <p:cNvCxnSpPr/>
              <p:nvPr userDrawn="1"/>
            </p:nvCxnSpPr>
            <p:spPr>
              <a:xfrm>
                <a:off x="8656638"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BCF9BFC8-7E25-44C9-9120-9CF302E7A568}"/>
                </a:ext>
              </a:extLst>
            </p:cNvPr>
            <p:cNvGrpSpPr/>
            <p:nvPr userDrawn="1"/>
          </p:nvGrpSpPr>
          <p:grpSpPr>
            <a:xfrm>
              <a:off x="10335302" y="6671070"/>
              <a:ext cx="1413626" cy="286232"/>
              <a:chOff x="10335302" y="6671070"/>
              <a:chExt cx="1413626" cy="286232"/>
            </a:xfrm>
          </p:grpSpPr>
          <p:grpSp>
            <p:nvGrpSpPr>
              <p:cNvPr id="48" name="Group 47">
                <a:extLst>
                  <a:ext uri="{FF2B5EF4-FFF2-40B4-BE49-F238E27FC236}">
                    <a16:creationId xmlns:a16="http://schemas.microsoft.com/office/drawing/2014/main" id="{6A5D6353-6C8A-433D-BBB2-419687BC4C9F}"/>
                  </a:ext>
                </a:extLst>
              </p:cNvPr>
              <p:cNvGrpSpPr/>
              <p:nvPr userDrawn="1"/>
            </p:nvGrpSpPr>
            <p:grpSpPr>
              <a:xfrm>
                <a:off x="10626848" y="6671070"/>
                <a:ext cx="1122080" cy="286232"/>
                <a:chOff x="10626848" y="6617718"/>
                <a:chExt cx="1122080" cy="286232"/>
              </a:xfrm>
            </p:grpSpPr>
            <p:sp>
              <p:nvSpPr>
                <p:cNvPr id="50" name="Rectangle 49">
                  <a:extLst>
                    <a:ext uri="{FF2B5EF4-FFF2-40B4-BE49-F238E27FC236}">
                      <a16:creationId xmlns:a16="http://schemas.microsoft.com/office/drawing/2014/main" id="{B5E8CE67-26E2-4F6A-AECF-30B8C74383FF}"/>
                    </a:ext>
                  </a:extLst>
                </p:cNvPr>
                <p:cNvSpPr/>
                <p:nvPr/>
              </p:nvSpPr>
              <p:spPr bwMode="auto">
                <a:xfrm>
                  <a:off x="108576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51" name="arrow">
                  <a:extLst>
                    <a:ext uri="{FF2B5EF4-FFF2-40B4-BE49-F238E27FC236}">
                      <a16:creationId xmlns:a16="http://schemas.microsoft.com/office/drawing/2014/main" id="{0E985106-4431-4228-8246-A67393B338C2}"/>
                    </a:ext>
                  </a:extLst>
                </p:cNvPr>
                <p:cNvSpPr>
                  <a:spLocks noChangeAspect="1" noEditPoints="1"/>
                </p:cNvSpPr>
                <p:nvPr/>
              </p:nvSpPr>
              <p:spPr bwMode="auto">
                <a:xfrm>
                  <a:off x="106268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49" name="Straight Connector 48">
                <a:extLst>
                  <a:ext uri="{FF2B5EF4-FFF2-40B4-BE49-F238E27FC236}">
                    <a16:creationId xmlns:a16="http://schemas.microsoft.com/office/drawing/2014/main" id="{02B38776-06DD-4AE8-8864-0E434F924C0B}"/>
                  </a:ext>
                </a:extLst>
              </p:cNvPr>
              <p:cNvCxnSpPr/>
              <p:nvPr userDrawn="1"/>
            </p:nvCxnSpPr>
            <p:spPr>
              <a:xfrm>
                <a:off x="10335302"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FEA5150-9852-4FC5-AE4C-DA4595057A2D}"/>
                </a:ext>
              </a:extLst>
            </p:cNvPr>
            <p:cNvGrpSpPr/>
            <p:nvPr userDrawn="1"/>
          </p:nvGrpSpPr>
          <p:grpSpPr>
            <a:xfrm>
              <a:off x="5712857" y="6671330"/>
              <a:ext cx="2663262" cy="288006"/>
              <a:chOff x="5732591" y="6671330"/>
              <a:chExt cx="2663262" cy="288006"/>
            </a:xfrm>
          </p:grpSpPr>
          <p:sp>
            <p:nvSpPr>
              <p:cNvPr id="45" name="Rectangle 44">
                <a:extLst>
                  <a:ext uri="{FF2B5EF4-FFF2-40B4-BE49-F238E27FC236}">
                    <a16:creationId xmlns:a16="http://schemas.microsoft.com/office/drawing/2014/main" id="{928D4D7F-64D0-4E15-A666-22C66E19C42A}"/>
                  </a:ext>
                </a:extLst>
              </p:cNvPr>
              <p:cNvSpPr/>
              <p:nvPr userDrawn="1"/>
            </p:nvSpPr>
            <p:spPr bwMode="auto">
              <a:xfrm>
                <a:off x="5732591" y="6671330"/>
                <a:ext cx="713577" cy="288006"/>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kern="1200"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Build</a:t>
                </a:r>
              </a:p>
            </p:txBody>
          </p:sp>
          <p:sp>
            <p:nvSpPr>
              <p:cNvPr id="46" name="Rectangle 45">
                <a:extLst>
                  <a:ext uri="{FF2B5EF4-FFF2-40B4-BE49-F238E27FC236}">
                    <a16:creationId xmlns:a16="http://schemas.microsoft.com/office/drawing/2014/main" id="{4092AA24-8110-44A8-98A2-4E4544BDF2B2}"/>
                  </a:ext>
                </a:extLst>
              </p:cNvPr>
              <p:cNvSpPr/>
              <p:nvPr userDrawn="1"/>
            </p:nvSpPr>
            <p:spPr bwMode="auto">
              <a:xfrm>
                <a:off x="6446425" y="6672216"/>
                <a:ext cx="979114"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Connect</a:t>
                </a:r>
              </a:p>
            </p:txBody>
          </p:sp>
          <p:sp>
            <p:nvSpPr>
              <p:cNvPr id="47" name="Rectangle 46">
                <a:extLst>
                  <a:ext uri="{FF2B5EF4-FFF2-40B4-BE49-F238E27FC236}">
                    <a16:creationId xmlns:a16="http://schemas.microsoft.com/office/drawing/2014/main" id="{EE2C67B3-E826-400D-89C1-437DE54DDA76}"/>
                  </a:ext>
                </a:extLst>
              </p:cNvPr>
              <p:cNvSpPr/>
              <p:nvPr userDrawn="1"/>
            </p:nvSpPr>
            <p:spPr bwMode="auto">
              <a:xfrm>
                <a:off x="7434371" y="6672216"/>
                <a:ext cx="961482"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Manage</a:t>
                </a:r>
              </a:p>
            </p:txBody>
          </p:sp>
        </p:grpSp>
        <p:grpSp>
          <p:nvGrpSpPr>
            <p:cNvPr id="41" name="Group 40">
              <a:extLst>
                <a:ext uri="{FF2B5EF4-FFF2-40B4-BE49-F238E27FC236}">
                  <a16:creationId xmlns:a16="http://schemas.microsoft.com/office/drawing/2014/main" id="{B021FF54-582F-4244-A8FF-36340528ADF7}"/>
                </a:ext>
              </a:extLst>
            </p:cNvPr>
            <p:cNvGrpSpPr/>
            <p:nvPr userDrawn="1"/>
          </p:nvGrpSpPr>
          <p:grpSpPr>
            <a:xfrm>
              <a:off x="4436182" y="6693638"/>
              <a:ext cx="269313" cy="202991"/>
              <a:chOff x="14466543" y="3803109"/>
              <a:chExt cx="499020" cy="376126"/>
            </a:xfrm>
            <a:noFill/>
          </p:grpSpPr>
          <p:sp>
            <p:nvSpPr>
              <p:cNvPr id="43" name="Freeform 39">
                <a:extLst>
                  <a:ext uri="{FF2B5EF4-FFF2-40B4-BE49-F238E27FC236}">
                    <a16:creationId xmlns:a16="http://schemas.microsoft.com/office/drawing/2014/main" id="{70821764-0DFF-46C7-BD9C-D6EDDCF18F41}"/>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44" name="Freeform 40">
                <a:extLst>
                  <a:ext uri="{FF2B5EF4-FFF2-40B4-BE49-F238E27FC236}">
                    <a16:creationId xmlns:a16="http://schemas.microsoft.com/office/drawing/2014/main" id="{E89A936A-5249-47AE-9D56-B649E00CFCC1}"/>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cxnSp>
          <p:nvCxnSpPr>
            <p:cNvPr id="42" name="Straight Connector 41">
              <a:extLst>
                <a:ext uri="{FF2B5EF4-FFF2-40B4-BE49-F238E27FC236}">
                  <a16:creationId xmlns:a16="http://schemas.microsoft.com/office/drawing/2014/main" id="{63B7FC49-8849-4B69-9016-335F7DFF72E4}"/>
                </a:ext>
              </a:extLst>
            </p:cNvPr>
            <p:cNvCxnSpPr/>
            <p:nvPr userDrawn="1"/>
          </p:nvCxnSpPr>
          <p:spPr>
            <a:xfrm>
              <a:off x="5645539"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0322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HINGS - Manage TITL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60" y="6497376"/>
            <a:ext cx="12192000" cy="372822"/>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289088" y="6520860"/>
            <a:ext cx="1362797" cy="334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4821" tIns="44821" rIns="44821" bIns="44821"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a:xfrm>
            <a:off x="269240" y="289511"/>
            <a:ext cx="11655840" cy="899665"/>
          </a:xfrm>
        </p:spPr>
        <p:txBody>
          <a:bodyPr/>
          <a:lstStyle/>
          <a:p>
            <a:r>
              <a:rPr lang="en-US"/>
              <a:t>Click to edit Master title style</a:t>
            </a:r>
          </a:p>
        </p:txBody>
      </p:sp>
      <p:sp>
        <p:nvSpPr>
          <p:cNvPr id="3" name="Text Placeholder 2">
            <a:extLst>
              <a:ext uri="{FF2B5EF4-FFF2-40B4-BE49-F238E27FC236}">
                <a16:creationId xmlns:a16="http://schemas.microsoft.com/office/drawing/2014/main" id="{2D4CB82C-01F6-4E11-B59D-D6E53D8AA4B2}"/>
              </a:ext>
            </a:extLst>
          </p:cNvPr>
          <p:cNvSpPr>
            <a:spLocks noGrp="1"/>
          </p:cNvSpPr>
          <p:nvPr userDrawn="1">
            <p:ph type="body" sz="quarter" idx="10"/>
          </p:nvPr>
        </p:nvSpPr>
        <p:spPr>
          <a:xfrm>
            <a:off x="269240" y="1202045"/>
            <a:ext cx="6979810" cy="1605632"/>
          </a:xfrm>
        </p:spPr>
        <p:txBody>
          <a:bodyPr/>
          <a:lstStyle>
            <a:lvl1pPr>
              <a:defRPr sz="2353"/>
            </a:lvl1pPr>
            <a:lvl2pPr>
              <a:defRPr sz="1765"/>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Rectangle 37">
            <a:extLst>
              <a:ext uri="{FF2B5EF4-FFF2-40B4-BE49-F238E27FC236}">
                <a16:creationId xmlns:a16="http://schemas.microsoft.com/office/drawing/2014/main" id="{D2A2AEA5-8B15-4001-9E30-C8DBE93E1048}"/>
              </a:ext>
            </a:extLst>
          </p:cNvPr>
          <p:cNvSpPr/>
          <p:nvPr/>
        </p:nvSpPr>
        <p:spPr bwMode="auto">
          <a:xfrm>
            <a:off x="4678989" y="6540859"/>
            <a:ext cx="759973" cy="280645"/>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4821" tIns="44821" rIns="44821" bIns="44821"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39" name="Group 38">
            <a:extLst>
              <a:ext uri="{FF2B5EF4-FFF2-40B4-BE49-F238E27FC236}">
                <a16:creationId xmlns:a16="http://schemas.microsoft.com/office/drawing/2014/main" id="{16FF1CC1-7E0E-445D-A86A-5F72C7981640}"/>
              </a:ext>
            </a:extLst>
          </p:cNvPr>
          <p:cNvGrpSpPr/>
          <p:nvPr userDrawn="1"/>
        </p:nvGrpSpPr>
        <p:grpSpPr>
          <a:xfrm>
            <a:off x="8486467" y="6539983"/>
            <a:ext cx="1388132" cy="282385"/>
            <a:chOff x="8656638" y="6670182"/>
            <a:chExt cx="1415967" cy="288007"/>
          </a:xfrm>
        </p:grpSpPr>
        <p:grpSp>
          <p:nvGrpSpPr>
            <p:cNvPr id="53" name="Group 52">
              <a:extLst>
                <a:ext uri="{FF2B5EF4-FFF2-40B4-BE49-F238E27FC236}">
                  <a16:creationId xmlns:a16="http://schemas.microsoft.com/office/drawing/2014/main" id="{72860754-2F2A-48D5-8AFB-43E1C6B793F9}"/>
                </a:ext>
              </a:extLst>
            </p:cNvPr>
            <p:cNvGrpSpPr/>
            <p:nvPr userDrawn="1"/>
          </p:nvGrpSpPr>
          <p:grpSpPr>
            <a:xfrm>
              <a:off x="8903631" y="6670182"/>
              <a:ext cx="1168974" cy="288007"/>
              <a:chOff x="8903631" y="6616830"/>
              <a:chExt cx="1168974" cy="288007"/>
            </a:xfrm>
          </p:grpSpPr>
          <p:sp>
            <p:nvSpPr>
              <p:cNvPr id="55" name="Rectangle 54">
                <a:extLst>
                  <a:ext uri="{FF2B5EF4-FFF2-40B4-BE49-F238E27FC236}">
                    <a16:creationId xmlns:a16="http://schemas.microsoft.com/office/drawing/2014/main" id="{350AC5A9-6DC2-441E-9CB3-1DAD586E91E8}"/>
                  </a:ext>
                </a:extLst>
              </p:cNvPr>
              <p:cNvSpPr/>
              <p:nvPr/>
            </p:nvSpPr>
            <p:spPr bwMode="auto">
              <a:xfrm>
                <a:off x="91308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56" name="magnify">
                <a:extLst>
                  <a:ext uri="{FF2B5EF4-FFF2-40B4-BE49-F238E27FC236}">
                    <a16:creationId xmlns:a16="http://schemas.microsoft.com/office/drawing/2014/main" id="{9B44D099-801E-407E-A8E5-12CF23EF9955}"/>
                  </a:ext>
                </a:extLst>
              </p:cNvPr>
              <p:cNvSpPr>
                <a:spLocks noChangeAspect="1" noEditPoints="1"/>
              </p:cNvSpPr>
              <p:nvPr/>
            </p:nvSpPr>
            <p:spPr bwMode="auto">
              <a:xfrm rot="786292" flipH="1">
                <a:off x="89036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54" name="Straight Connector 53">
              <a:extLst>
                <a:ext uri="{FF2B5EF4-FFF2-40B4-BE49-F238E27FC236}">
                  <a16:creationId xmlns:a16="http://schemas.microsoft.com/office/drawing/2014/main" id="{6620B1B3-570E-481D-A6D0-419405D67C4B}"/>
                </a:ext>
              </a:extLst>
            </p:cNvPr>
            <p:cNvCxnSpPr/>
            <p:nvPr userDrawn="1"/>
          </p:nvCxnSpPr>
          <p:spPr>
            <a:xfrm>
              <a:off x="8656638"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D5138F31-C388-404A-A24C-9D029FEFABC9}"/>
              </a:ext>
            </a:extLst>
          </p:cNvPr>
          <p:cNvGrpSpPr/>
          <p:nvPr userDrawn="1"/>
        </p:nvGrpSpPr>
        <p:grpSpPr>
          <a:xfrm>
            <a:off x="10132132" y="6540859"/>
            <a:ext cx="1385837" cy="280645"/>
            <a:chOff x="10335302" y="6671070"/>
            <a:chExt cx="1413626" cy="286232"/>
          </a:xfrm>
        </p:grpSpPr>
        <p:grpSp>
          <p:nvGrpSpPr>
            <p:cNvPr id="49" name="Group 48">
              <a:extLst>
                <a:ext uri="{FF2B5EF4-FFF2-40B4-BE49-F238E27FC236}">
                  <a16:creationId xmlns:a16="http://schemas.microsoft.com/office/drawing/2014/main" id="{838DA44F-CDB9-4CCC-B842-61053F883A4F}"/>
                </a:ext>
              </a:extLst>
            </p:cNvPr>
            <p:cNvGrpSpPr/>
            <p:nvPr userDrawn="1"/>
          </p:nvGrpSpPr>
          <p:grpSpPr>
            <a:xfrm>
              <a:off x="10626848" y="6671070"/>
              <a:ext cx="1122080" cy="286232"/>
              <a:chOff x="10626848" y="6617718"/>
              <a:chExt cx="1122080" cy="286232"/>
            </a:xfrm>
          </p:grpSpPr>
          <p:sp>
            <p:nvSpPr>
              <p:cNvPr id="51" name="Rectangle 50">
                <a:extLst>
                  <a:ext uri="{FF2B5EF4-FFF2-40B4-BE49-F238E27FC236}">
                    <a16:creationId xmlns:a16="http://schemas.microsoft.com/office/drawing/2014/main" id="{3ECAECC3-A41D-414D-8F86-E249FDDAE769}"/>
                  </a:ext>
                </a:extLst>
              </p:cNvPr>
              <p:cNvSpPr/>
              <p:nvPr/>
            </p:nvSpPr>
            <p:spPr bwMode="auto">
              <a:xfrm>
                <a:off x="108576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52" name="arrow">
                <a:extLst>
                  <a:ext uri="{FF2B5EF4-FFF2-40B4-BE49-F238E27FC236}">
                    <a16:creationId xmlns:a16="http://schemas.microsoft.com/office/drawing/2014/main" id="{119586D8-3851-45CC-97F4-A2050AFE9617}"/>
                  </a:ext>
                </a:extLst>
              </p:cNvPr>
              <p:cNvSpPr>
                <a:spLocks noChangeAspect="1" noEditPoints="1"/>
              </p:cNvSpPr>
              <p:nvPr/>
            </p:nvSpPr>
            <p:spPr bwMode="auto">
              <a:xfrm>
                <a:off x="106268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50" name="Straight Connector 49">
              <a:extLst>
                <a:ext uri="{FF2B5EF4-FFF2-40B4-BE49-F238E27FC236}">
                  <a16:creationId xmlns:a16="http://schemas.microsoft.com/office/drawing/2014/main" id="{CA1E53BA-6799-4605-A5C4-768EDCE4E9CE}"/>
                </a:ext>
              </a:extLst>
            </p:cNvPr>
            <p:cNvCxnSpPr/>
            <p:nvPr userDrawn="1"/>
          </p:nvCxnSpPr>
          <p:spPr>
            <a:xfrm>
              <a:off x="10335302"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A52904E1-E99D-45D7-A6C3-162BF0676CE6}"/>
              </a:ext>
            </a:extLst>
          </p:cNvPr>
          <p:cNvGrpSpPr/>
          <p:nvPr userDrawn="1"/>
        </p:nvGrpSpPr>
        <p:grpSpPr>
          <a:xfrm>
            <a:off x="5600554" y="6541104"/>
            <a:ext cx="2610908" cy="282385"/>
            <a:chOff x="5732591" y="6671329"/>
            <a:chExt cx="2663262" cy="288007"/>
          </a:xfrm>
        </p:grpSpPr>
        <p:sp>
          <p:nvSpPr>
            <p:cNvPr id="46" name="Rectangle 45">
              <a:extLst>
                <a:ext uri="{FF2B5EF4-FFF2-40B4-BE49-F238E27FC236}">
                  <a16:creationId xmlns:a16="http://schemas.microsoft.com/office/drawing/2014/main" id="{97FF48CE-0F47-4649-A768-84F8A476386C}"/>
                </a:ext>
              </a:extLst>
            </p:cNvPr>
            <p:cNvSpPr/>
            <p:nvPr userDrawn="1"/>
          </p:nvSpPr>
          <p:spPr bwMode="auto">
            <a:xfrm>
              <a:off x="5732591" y="6671329"/>
              <a:ext cx="713577" cy="288007"/>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Build</a:t>
              </a:r>
            </a:p>
          </p:txBody>
        </p:sp>
        <p:sp>
          <p:nvSpPr>
            <p:cNvPr id="47" name="Rectangle 46">
              <a:extLst>
                <a:ext uri="{FF2B5EF4-FFF2-40B4-BE49-F238E27FC236}">
                  <a16:creationId xmlns:a16="http://schemas.microsoft.com/office/drawing/2014/main" id="{FF8EA8D7-63F7-46D7-AB73-622EF37B0DD4}"/>
                </a:ext>
              </a:extLst>
            </p:cNvPr>
            <p:cNvSpPr/>
            <p:nvPr userDrawn="1"/>
          </p:nvSpPr>
          <p:spPr bwMode="auto">
            <a:xfrm>
              <a:off x="6446425" y="6672216"/>
              <a:ext cx="979114"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Connect</a:t>
              </a:r>
            </a:p>
          </p:txBody>
        </p:sp>
        <p:sp>
          <p:nvSpPr>
            <p:cNvPr id="48" name="Rectangle 47">
              <a:extLst>
                <a:ext uri="{FF2B5EF4-FFF2-40B4-BE49-F238E27FC236}">
                  <a16:creationId xmlns:a16="http://schemas.microsoft.com/office/drawing/2014/main" id="{71D78493-8D90-4EBD-9F7C-DDD220ADFA22}"/>
                </a:ext>
              </a:extLst>
            </p:cNvPr>
            <p:cNvSpPr/>
            <p:nvPr userDrawn="1"/>
          </p:nvSpPr>
          <p:spPr bwMode="auto">
            <a:xfrm>
              <a:off x="7434371" y="6672216"/>
              <a:ext cx="961482"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Manage</a:t>
              </a:r>
            </a:p>
          </p:txBody>
        </p:sp>
      </p:grpSp>
      <p:grpSp>
        <p:nvGrpSpPr>
          <p:cNvPr id="42" name="Group 41">
            <a:extLst>
              <a:ext uri="{FF2B5EF4-FFF2-40B4-BE49-F238E27FC236}">
                <a16:creationId xmlns:a16="http://schemas.microsoft.com/office/drawing/2014/main" id="{138F7B65-51AB-49D1-8570-8B0F74073CAC}"/>
              </a:ext>
            </a:extLst>
          </p:cNvPr>
          <p:cNvGrpSpPr/>
          <p:nvPr userDrawn="1"/>
        </p:nvGrpSpPr>
        <p:grpSpPr>
          <a:xfrm>
            <a:off x="4348976" y="6562986"/>
            <a:ext cx="264019" cy="199029"/>
            <a:chOff x="14466543" y="3803109"/>
            <a:chExt cx="499020" cy="376126"/>
          </a:xfrm>
          <a:noFill/>
        </p:grpSpPr>
        <p:sp>
          <p:nvSpPr>
            <p:cNvPr id="44" name="Freeform 39">
              <a:extLst>
                <a:ext uri="{FF2B5EF4-FFF2-40B4-BE49-F238E27FC236}">
                  <a16:creationId xmlns:a16="http://schemas.microsoft.com/office/drawing/2014/main" id="{1ED75BFE-3198-45DC-89DD-47FBE767466E}"/>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45" name="Freeform 40">
              <a:extLst>
                <a:ext uri="{FF2B5EF4-FFF2-40B4-BE49-F238E27FC236}">
                  <a16:creationId xmlns:a16="http://schemas.microsoft.com/office/drawing/2014/main" id="{6F9F7266-FAFF-4F37-A40B-106F1CBCC55C}"/>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cxnSp>
        <p:nvCxnSpPr>
          <p:cNvPr id="43" name="Straight Connector 42">
            <a:extLst>
              <a:ext uri="{FF2B5EF4-FFF2-40B4-BE49-F238E27FC236}">
                <a16:creationId xmlns:a16="http://schemas.microsoft.com/office/drawing/2014/main" id="{89229430-8A26-4C7A-8D37-DDBAD9B6E4CF}"/>
              </a:ext>
            </a:extLst>
          </p:cNvPr>
          <p:cNvCxnSpPr/>
          <p:nvPr userDrawn="1"/>
        </p:nvCxnSpPr>
        <p:spPr>
          <a:xfrm>
            <a:off x="5534560" y="6547822"/>
            <a:ext cx="0" cy="268966"/>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70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HINGS - Manage TITL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60" y="6497376"/>
            <a:ext cx="12192000" cy="372822"/>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289088" y="6520860"/>
            <a:ext cx="1362797" cy="334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4821" tIns="44821" rIns="44821" bIns="44821"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grpSp>
        <p:nvGrpSpPr>
          <p:cNvPr id="29" name="Group 28">
            <a:extLst>
              <a:ext uri="{FF2B5EF4-FFF2-40B4-BE49-F238E27FC236}">
                <a16:creationId xmlns:a16="http://schemas.microsoft.com/office/drawing/2014/main" id="{731C1F4B-DFB5-4D69-8513-425D8361858B}"/>
              </a:ext>
            </a:extLst>
          </p:cNvPr>
          <p:cNvGrpSpPr/>
          <p:nvPr userDrawn="1"/>
        </p:nvGrpSpPr>
        <p:grpSpPr>
          <a:xfrm>
            <a:off x="4348976" y="6540003"/>
            <a:ext cx="7168993" cy="283511"/>
            <a:chOff x="4436182" y="6670182"/>
            <a:chExt cx="7312746" cy="289154"/>
          </a:xfrm>
        </p:grpSpPr>
        <p:sp>
          <p:nvSpPr>
            <p:cNvPr id="33" name="Rectangle 32">
              <a:extLst>
                <a:ext uri="{FF2B5EF4-FFF2-40B4-BE49-F238E27FC236}">
                  <a16:creationId xmlns:a16="http://schemas.microsoft.com/office/drawing/2014/main" id="{6BDB30A7-1D63-4805-AEF8-68B44301AC14}"/>
                </a:ext>
              </a:extLst>
            </p:cNvPr>
            <p:cNvSpPr/>
            <p:nvPr/>
          </p:nvSpPr>
          <p:spPr bwMode="auto">
            <a:xfrm>
              <a:off x="4772812" y="6671070"/>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38" name="Group 37">
              <a:extLst>
                <a:ext uri="{FF2B5EF4-FFF2-40B4-BE49-F238E27FC236}">
                  <a16:creationId xmlns:a16="http://schemas.microsoft.com/office/drawing/2014/main" id="{5FD45564-49B1-4B57-AFD3-333C3AC01FC7}"/>
                </a:ext>
              </a:extLst>
            </p:cNvPr>
            <p:cNvGrpSpPr/>
            <p:nvPr userDrawn="1"/>
          </p:nvGrpSpPr>
          <p:grpSpPr>
            <a:xfrm>
              <a:off x="8656638" y="6670182"/>
              <a:ext cx="1415967" cy="288007"/>
              <a:chOff x="8656638" y="6670182"/>
              <a:chExt cx="1415967" cy="288007"/>
            </a:xfrm>
          </p:grpSpPr>
          <p:grpSp>
            <p:nvGrpSpPr>
              <p:cNvPr id="52" name="Group 51">
                <a:extLst>
                  <a:ext uri="{FF2B5EF4-FFF2-40B4-BE49-F238E27FC236}">
                    <a16:creationId xmlns:a16="http://schemas.microsoft.com/office/drawing/2014/main" id="{2184036D-282E-4ACE-919F-9C448B05D519}"/>
                  </a:ext>
                </a:extLst>
              </p:cNvPr>
              <p:cNvGrpSpPr/>
              <p:nvPr userDrawn="1"/>
            </p:nvGrpSpPr>
            <p:grpSpPr>
              <a:xfrm>
                <a:off x="8903631" y="6670182"/>
                <a:ext cx="1168974" cy="288007"/>
                <a:chOff x="8903631" y="6616830"/>
                <a:chExt cx="1168974" cy="288007"/>
              </a:xfrm>
            </p:grpSpPr>
            <p:sp>
              <p:nvSpPr>
                <p:cNvPr id="54" name="Rectangle 53">
                  <a:extLst>
                    <a:ext uri="{FF2B5EF4-FFF2-40B4-BE49-F238E27FC236}">
                      <a16:creationId xmlns:a16="http://schemas.microsoft.com/office/drawing/2014/main" id="{3E38B409-CB7E-4C4F-BB15-275F187DF241}"/>
                    </a:ext>
                  </a:extLst>
                </p:cNvPr>
                <p:cNvSpPr/>
                <p:nvPr/>
              </p:nvSpPr>
              <p:spPr bwMode="auto">
                <a:xfrm>
                  <a:off x="91308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55" name="magnify">
                  <a:extLst>
                    <a:ext uri="{FF2B5EF4-FFF2-40B4-BE49-F238E27FC236}">
                      <a16:creationId xmlns:a16="http://schemas.microsoft.com/office/drawing/2014/main" id="{2287CB4B-7768-4EF1-84F1-5B56167512D0}"/>
                    </a:ext>
                  </a:extLst>
                </p:cNvPr>
                <p:cNvSpPr>
                  <a:spLocks noChangeAspect="1" noEditPoints="1"/>
                </p:cNvSpPr>
                <p:nvPr/>
              </p:nvSpPr>
              <p:spPr bwMode="auto">
                <a:xfrm rot="786292" flipH="1">
                  <a:off x="89036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53" name="Straight Connector 52">
                <a:extLst>
                  <a:ext uri="{FF2B5EF4-FFF2-40B4-BE49-F238E27FC236}">
                    <a16:creationId xmlns:a16="http://schemas.microsoft.com/office/drawing/2014/main" id="{917DD6FE-C116-4751-950F-8A8952C43E62}"/>
                  </a:ext>
                </a:extLst>
              </p:cNvPr>
              <p:cNvCxnSpPr/>
              <p:nvPr userDrawn="1"/>
            </p:nvCxnSpPr>
            <p:spPr>
              <a:xfrm>
                <a:off x="8656638"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9059A34E-7E91-4DF0-AF35-E2C85004570D}"/>
                </a:ext>
              </a:extLst>
            </p:cNvPr>
            <p:cNvGrpSpPr/>
            <p:nvPr userDrawn="1"/>
          </p:nvGrpSpPr>
          <p:grpSpPr>
            <a:xfrm>
              <a:off x="10335302" y="6671070"/>
              <a:ext cx="1413626" cy="286232"/>
              <a:chOff x="10335302" y="6671070"/>
              <a:chExt cx="1413626" cy="286232"/>
            </a:xfrm>
          </p:grpSpPr>
          <p:grpSp>
            <p:nvGrpSpPr>
              <p:cNvPr id="48" name="Group 47">
                <a:extLst>
                  <a:ext uri="{FF2B5EF4-FFF2-40B4-BE49-F238E27FC236}">
                    <a16:creationId xmlns:a16="http://schemas.microsoft.com/office/drawing/2014/main" id="{9CF8D5B8-8D86-4100-AA7F-F5AB1023B148}"/>
                  </a:ext>
                </a:extLst>
              </p:cNvPr>
              <p:cNvGrpSpPr/>
              <p:nvPr userDrawn="1"/>
            </p:nvGrpSpPr>
            <p:grpSpPr>
              <a:xfrm>
                <a:off x="10626848" y="6671070"/>
                <a:ext cx="1122080" cy="286232"/>
                <a:chOff x="10626848" y="6617718"/>
                <a:chExt cx="1122080" cy="286232"/>
              </a:xfrm>
            </p:grpSpPr>
            <p:sp>
              <p:nvSpPr>
                <p:cNvPr id="50" name="Rectangle 49">
                  <a:extLst>
                    <a:ext uri="{FF2B5EF4-FFF2-40B4-BE49-F238E27FC236}">
                      <a16:creationId xmlns:a16="http://schemas.microsoft.com/office/drawing/2014/main" id="{A1F9CAC3-8B69-434D-9CAE-612EA8A95711}"/>
                    </a:ext>
                  </a:extLst>
                </p:cNvPr>
                <p:cNvSpPr/>
                <p:nvPr/>
              </p:nvSpPr>
              <p:spPr bwMode="auto">
                <a:xfrm>
                  <a:off x="108576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51" name="arrow">
                  <a:extLst>
                    <a:ext uri="{FF2B5EF4-FFF2-40B4-BE49-F238E27FC236}">
                      <a16:creationId xmlns:a16="http://schemas.microsoft.com/office/drawing/2014/main" id="{EE1FAE50-0C86-40F8-8AB1-97DFB3F0E95A}"/>
                    </a:ext>
                  </a:extLst>
                </p:cNvPr>
                <p:cNvSpPr>
                  <a:spLocks noChangeAspect="1" noEditPoints="1"/>
                </p:cNvSpPr>
                <p:nvPr/>
              </p:nvSpPr>
              <p:spPr bwMode="auto">
                <a:xfrm>
                  <a:off x="106268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49" name="Straight Connector 48">
                <a:extLst>
                  <a:ext uri="{FF2B5EF4-FFF2-40B4-BE49-F238E27FC236}">
                    <a16:creationId xmlns:a16="http://schemas.microsoft.com/office/drawing/2014/main" id="{CAE76460-7C5C-4760-A26C-19B0DC40E5FD}"/>
                  </a:ext>
                </a:extLst>
              </p:cNvPr>
              <p:cNvCxnSpPr/>
              <p:nvPr userDrawn="1"/>
            </p:nvCxnSpPr>
            <p:spPr>
              <a:xfrm>
                <a:off x="10335302"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3C6C7F2D-0B24-42A7-8A11-A50A6C0DD8D1}"/>
                </a:ext>
              </a:extLst>
            </p:cNvPr>
            <p:cNvGrpSpPr/>
            <p:nvPr userDrawn="1"/>
          </p:nvGrpSpPr>
          <p:grpSpPr>
            <a:xfrm>
              <a:off x="5712857" y="6671330"/>
              <a:ext cx="2663262" cy="288006"/>
              <a:chOff x="5732591" y="6671330"/>
              <a:chExt cx="2663262" cy="288006"/>
            </a:xfrm>
          </p:grpSpPr>
          <p:sp>
            <p:nvSpPr>
              <p:cNvPr id="45" name="Rectangle 44">
                <a:extLst>
                  <a:ext uri="{FF2B5EF4-FFF2-40B4-BE49-F238E27FC236}">
                    <a16:creationId xmlns:a16="http://schemas.microsoft.com/office/drawing/2014/main" id="{284AEAF9-A741-46E9-930F-AB9058C5B9B1}"/>
                  </a:ext>
                </a:extLst>
              </p:cNvPr>
              <p:cNvSpPr/>
              <p:nvPr userDrawn="1"/>
            </p:nvSpPr>
            <p:spPr bwMode="auto">
              <a:xfrm>
                <a:off x="5732591" y="6671330"/>
                <a:ext cx="713577" cy="288006"/>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Build</a:t>
                </a:r>
              </a:p>
            </p:txBody>
          </p:sp>
          <p:sp>
            <p:nvSpPr>
              <p:cNvPr id="46" name="Rectangle 45">
                <a:extLst>
                  <a:ext uri="{FF2B5EF4-FFF2-40B4-BE49-F238E27FC236}">
                    <a16:creationId xmlns:a16="http://schemas.microsoft.com/office/drawing/2014/main" id="{2A03C55D-33EB-4B35-B838-ABD70DF78702}"/>
                  </a:ext>
                </a:extLst>
              </p:cNvPr>
              <p:cNvSpPr/>
              <p:nvPr userDrawn="1"/>
            </p:nvSpPr>
            <p:spPr bwMode="auto">
              <a:xfrm>
                <a:off x="6446425" y="6672216"/>
                <a:ext cx="979114"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Connect</a:t>
                </a:r>
              </a:p>
            </p:txBody>
          </p:sp>
          <p:sp>
            <p:nvSpPr>
              <p:cNvPr id="47" name="Rectangle 46">
                <a:extLst>
                  <a:ext uri="{FF2B5EF4-FFF2-40B4-BE49-F238E27FC236}">
                    <a16:creationId xmlns:a16="http://schemas.microsoft.com/office/drawing/2014/main" id="{813D702D-6A31-4EBF-BF15-23612A48B149}"/>
                  </a:ext>
                </a:extLst>
              </p:cNvPr>
              <p:cNvSpPr/>
              <p:nvPr userDrawn="1"/>
            </p:nvSpPr>
            <p:spPr bwMode="auto">
              <a:xfrm>
                <a:off x="7434371" y="6672216"/>
                <a:ext cx="961482" cy="286232"/>
              </a:xfrm>
              <a:prstGeom prst="rect">
                <a:avLst/>
              </a:prstGeom>
              <a:noFill/>
              <a:ln w="12700">
                <a:noFill/>
                <a:headEnd type="none"/>
                <a:tailEnd type="ova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137160" tIns="45720" rIns="137160" bIns="45720" numCol="1" spcCol="0" rtlCol="0" fromWordArt="0" anchor="ctr" anchorCtr="0" forceAA="0" compatLnSpc="1">
                <a:prstTxWarp prst="textNoShape">
                  <a:avLst/>
                </a:prstTxWarp>
                <a:spAutoFit/>
              </a:bodyPr>
              <a:lstStyle/>
              <a:p>
                <a:pPr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Manage</a:t>
                </a:r>
              </a:p>
            </p:txBody>
          </p:sp>
        </p:grpSp>
        <p:grpSp>
          <p:nvGrpSpPr>
            <p:cNvPr id="41" name="Group 40">
              <a:extLst>
                <a:ext uri="{FF2B5EF4-FFF2-40B4-BE49-F238E27FC236}">
                  <a16:creationId xmlns:a16="http://schemas.microsoft.com/office/drawing/2014/main" id="{69370BEF-C140-4290-B3D6-011AC5AC871B}"/>
                </a:ext>
              </a:extLst>
            </p:cNvPr>
            <p:cNvGrpSpPr/>
            <p:nvPr userDrawn="1"/>
          </p:nvGrpSpPr>
          <p:grpSpPr>
            <a:xfrm>
              <a:off x="4436182" y="6693638"/>
              <a:ext cx="269313" cy="202991"/>
              <a:chOff x="14466543" y="3803109"/>
              <a:chExt cx="499020" cy="376126"/>
            </a:xfrm>
            <a:noFill/>
          </p:grpSpPr>
          <p:sp>
            <p:nvSpPr>
              <p:cNvPr id="43" name="Freeform 39">
                <a:extLst>
                  <a:ext uri="{FF2B5EF4-FFF2-40B4-BE49-F238E27FC236}">
                    <a16:creationId xmlns:a16="http://schemas.microsoft.com/office/drawing/2014/main" id="{4874783F-37B2-401E-80EE-635649576C5D}"/>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44" name="Freeform 40">
                <a:extLst>
                  <a:ext uri="{FF2B5EF4-FFF2-40B4-BE49-F238E27FC236}">
                    <a16:creationId xmlns:a16="http://schemas.microsoft.com/office/drawing/2014/main" id="{897EDD8C-250C-450D-9273-3CE8CD2452CD}"/>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tx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cxnSp>
          <p:nvCxnSpPr>
            <p:cNvPr id="42" name="Straight Connector 41">
              <a:extLst>
                <a:ext uri="{FF2B5EF4-FFF2-40B4-BE49-F238E27FC236}">
                  <a16:creationId xmlns:a16="http://schemas.microsoft.com/office/drawing/2014/main" id="{13EEA756-BC0B-48B2-B2AE-AE5835C54994}"/>
                </a:ext>
              </a:extLst>
            </p:cNvPr>
            <p:cNvCxnSpPr/>
            <p:nvPr userDrawn="1"/>
          </p:nvCxnSpPr>
          <p:spPr>
            <a:xfrm>
              <a:off x="5645539" y="6678172"/>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341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D4A78-0451-4844-9191-C1DF9B29109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51ACF25-7273-462A-B628-39B88D31D38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B7D1FD36-8FA5-4F4C-B53A-0036A2BBEB1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B4DA2035-D157-46D5-91DA-B5F845BC15D6}"/>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6" name="Footer Placeholder 5">
            <a:extLst>
              <a:ext uri="{FF2B5EF4-FFF2-40B4-BE49-F238E27FC236}">
                <a16:creationId xmlns:a16="http://schemas.microsoft.com/office/drawing/2014/main" id="{B6BF465B-55C6-4BCB-8B27-8D00A190F8B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ECE2AEF-E978-4D05-90CF-A131209ABAF3}"/>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40539896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INSIGHTS-Analyze -Conten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11247438" y="6617718"/>
              <a:ext cx="1122080" cy="286232"/>
              <a:chOff x="1124743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1147824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1124743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tx2"/>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1095589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A1E7B762-28E1-47FB-B529-A40868F1BE2D}"/>
              </a:ext>
            </a:extLst>
          </p:cNvPr>
          <p:cNvSpPr>
            <a:spLocks noGrp="1"/>
          </p:cNvSpPr>
          <p:nvPr>
            <p:ph type="body" sz="quarter" idx="10"/>
          </p:nvPr>
        </p:nvSpPr>
        <p:spPr>
          <a:xfrm>
            <a:off x="269239" y="1189177"/>
            <a:ext cx="4482124" cy="182511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Rectangle 28">
            <a:extLst>
              <a:ext uri="{FF2B5EF4-FFF2-40B4-BE49-F238E27FC236}">
                <a16:creationId xmlns:a16="http://schemas.microsoft.com/office/drawing/2014/main" id="{6BA0C9C4-2D63-4C03-ADDD-A5F68F9E7620}"/>
              </a:ext>
            </a:extLst>
          </p:cNvPr>
          <p:cNvSpPr/>
          <p:nvPr userDrawn="1"/>
        </p:nvSpPr>
        <p:spPr bwMode="auto">
          <a:xfrm>
            <a:off x="7223653" y="6497377"/>
            <a:ext cx="896630"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38" name="Rectangle 37">
            <a:extLst>
              <a:ext uri="{FF2B5EF4-FFF2-40B4-BE49-F238E27FC236}">
                <a16:creationId xmlns:a16="http://schemas.microsoft.com/office/drawing/2014/main" id="{F3D2EABB-26B9-4C02-B45E-ECB912CF80BE}"/>
              </a:ext>
            </a:extLst>
          </p:cNvPr>
          <p:cNvSpPr/>
          <p:nvPr userDrawn="1"/>
        </p:nvSpPr>
        <p:spPr bwMode="auto">
          <a:xfrm>
            <a:off x="8213165" y="6497377"/>
            <a:ext cx="1400513"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itchFamily="34" charset="0"/>
                <a:cs typeface="Segoe UI" panose="020B0502040204020203" pitchFamily="34" charset="0"/>
              </a:rPr>
              <a:t>Operationalize</a:t>
            </a:r>
          </a:p>
        </p:txBody>
      </p:sp>
      <p:sp>
        <p:nvSpPr>
          <p:cNvPr id="39" name="Rectangle 38">
            <a:extLst>
              <a:ext uri="{FF2B5EF4-FFF2-40B4-BE49-F238E27FC236}">
                <a16:creationId xmlns:a16="http://schemas.microsoft.com/office/drawing/2014/main" id="{EF4703F6-8A52-4010-AE95-C5475724008F}"/>
              </a:ext>
            </a:extLst>
          </p:cNvPr>
          <p:cNvSpPr/>
          <p:nvPr userDrawn="1"/>
        </p:nvSpPr>
        <p:spPr bwMode="auto">
          <a:xfrm>
            <a:off x="9706560" y="6497377"/>
            <a:ext cx="701011"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Refine</a:t>
            </a:r>
          </a:p>
        </p:txBody>
      </p:sp>
      <p:grpSp>
        <p:nvGrpSpPr>
          <p:cNvPr id="40" name="Group 39">
            <a:extLst>
              <a:ext uri="{FF2B5EF4-FFF2-40B4-BE49-F238E27FC236}">
                <a16:creationId xmlns:a16="http://schemas.microsoft.com/office/drawing/2014/main" id="{E3442FDC-41A2-426A-806A-6F8EDAD5AFF3}"/>
              </a:ext>
            </a:extLst>
          </p:cNvPr>
          <p:cNvGrpSpPr/>
          <p:nvPr userDrawn="1"/>
        </p:nvGrpSpPr>
        <p:grpSpPr>
          <a:xfrm>
            <a:off x="4348976" y="6562986"/>
            <a:ext cx="264019" cy="199029"/>
            <a:chOff x="14466543" y="3803109"/>
            <a:chExt cx="499020" cy="376126"/>
          </a:xfrm>
          <a:noFill/>
        </p:grpSpPr>
        <p:sp>
          <p:nvSpPr>
            <p:cNvPr id="41" name="Freeform 39">
              <a:extLst>
                <a:ext uri="{FF2B5EF4-FFF2-40B4-BE49-F238E27FC236}">
                  <a16:creationId xmlns:a16="http://schemas.microsoft.com/office/drawing/2014/main" id="{A274F410-2EBC-48C2-9EF1-6A48C4B4251E}"/>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42" name="Freeform 40">
              <a:extLst>
                <a:ext uri="{FF2B5EF4-FFF2-40B4-BE49-F238E27FC236}">
                  <a16:creationId xmlns:a16="http://schemas.microsoft.com/office/drawing/2014/main" id="{A0329808-FB99-402E-AB39-109739CDBD8C}"/>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90374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INSIGHTS-Operationaliz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11247438" y="6617718"/>
              <a:ext cx="1122080" cy="286232"/>
              <a:chOff x="1124743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1147824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1124743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tx2"/>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1095589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30BB4E21-BA15-4C67-84BE-8F07DEE19416}"/>
              </a:ext>
            </a:extLst>
          </p:cNvPr>
          <p:cNvSpPr>
            <a:spLocks noGrp="1"/>
          </p:cNvSpPr>
          <p:nvPr>
            <p:ph type="body" sz="quarter" idx="10"/>
          </p:nvPr>
        </p:nvSpPr>
        <p:spPr>
          <a:xfrm>
            <a:off x="269239" y="1189177"/>
            <a:ext cx="4482124" cy="182511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Rectangle 28">
            <a:extLst>
              <a:ext uri="{FF2B5EF4-FFF2-40B4-BE49-F238E27FC236}">
                <a16:creationId xmlns:a16="http://schemas.microsoft.com/office/drawing/2014/main" id="{149691F0-4DF9-447C-A778-590A43A5FDFE}"/>
              </a:ext>
            </a:extLst>
          </p:cNvPr>
          <p:cNvSpPr/>
          <p:nvPr userDrawn="1"/>
        </p:nvSpPr>
        <p:spPr bwMode="auto">
          <a:xfrm>
            <a:off x="7223653" y="6497377"/>
            <a:ext cx="896630"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38" name="Rectangle 37">
            <a:extLst>
              <a:ext uri="{FF2B5EF4-FFF2-40B4-BE49-F238E27FC236}">
                <a16:creationId xmlns:a16="http://schemas.microsoft.com/office/drawing/2014/main" id="{22842518-D94C-4742-9293-FFED09C390D5}"/>
              </a:ext>
            </a:extLst>
          </p:cNvPr>
          <p:cNvSpPr/>
          <p:nvPr userDrawn="1"/>
        </p:nvSpPr>
        <p:spPr bwMode="auto">
          <a:xfrm>
            <a:off x="8213165" y="6497377"/>
            <a:ext cx="1400513"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itchFamily="34" charset="0"/>
                <a:cs typeface="Segoe UI" panose="020B0502040204020203" pitchFamily="34" charset="0"/>
              </a:rPr>
              <a:t>Operationalize</a:t>
            </a:r>
          </a:p>
        </p:txBody>
      </p:sp>
      <p:sp>
        <p:nvSpPr>
          <p:cNvPr id="39" name="Rectangle 38">
            <a:extLst>
              <a:ext uri="{FF2B5EF4-FFF2-40B4-BE49-F238E27FC236}">
                <a16:creationId xmlns:a16="http://schemas.microsoft.com/office/drawing/2014/main" id="{74DBC9D0-9DDF-4481-8A96-CFFD11D2C7A3}"/>
              </a:ext>
            </a:extLst>
          </p:cNvPr>
          <p:cNvSpPr/>
          <p:nvPr userDrawn="1"/>
        </p:nvSpPr>
        <p:spPr bwMode="auto">
          <a:xfrm>
            <a:off x="9706560" y="6497377"/>
            <a:ext cx="701011"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Refine</a:t>
            </a:r>
          </a:p>
        </p:txBody>
      </p:sp>
      <p:grpSp>
        <p:nvGrpSpPr>
          <p:cNvPr id="40" name="Group 39">
            <a:extLst>
              <a:ext uri="{FF2B5EF4-FFF2-40B4-BE49-F238E27FC236}">
                <a16:creationId xmlns:a16="http://schemas.microsoft.com/office/drawing/2014/main" id="{569FAFF4-3266-40E0-87F5-210962891D53}"/>
              </a:ext>
            </a:extLst>
          </p:cNvPr>
          <p:cNvGrpSpPr/>
          <p:nvPr userDrawn="1"/>
        </p:nvGrpSpPr>
        <p:grpSpPr>
          <a:xfrm>
            <a:off x="4348976" y="6562986"/>
            <a:ext cx="264019" cy="199029"/>
            <a:chOff x="14466543" y="3803109"/>
            <a:chExt cx="499020" cy="376126"/>
          </a:xfrm>
          <a:noFill/>
        </p:grpSpPr>
        <p:sp>
          <p:nvSpPr>
            <p:cNvPr id="41" name="Freeform 39">
              <a:extLst>
                <a:ext uri="{FF2B5EF4-FFF2-40B4-BE49-F238E27FC236}">
                  <a16:creationId xmlns:a16="http://schemas.microsoft.com/office/drawing/2014/main" id="{EACAB133-4AE3-4563-9F33-FAF2E2C2720C}"/>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42" name="Freeform 40">
              <a:extLst>
                <a:ext uri="{FF2B5EF4-FFF2-40B4-BE49-F238E27FC236}">
                  <a16:creationId xmlns:a16="http://schemas.microsoft.com/office/drawing/2014/main" id="{3989633A-2423-4F64-B186-48B92950C49F}"/>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76045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INSIGHTS-Monitor">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11247438" y="6617718"/>
              <a:ext cx="1122080" cy="286232"/>
              <a:chOff x="1124743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1147824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1124743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tx2"/>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1095589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5ECD396E-28F1-4D2D-A0FB-D6E4CB52260A}"/>
              </a:ext>
            </a:extLst>
          </p:cNvPr>
          <p:cNvSpPr>
            <a:spLocks noGrp="1"/>
          </p:cNvSpPr>
          <p:nvPr>
            <p:ph type="body" sz="quarter" idx="10"/>
          </p:nvPr>
        </p:nvSpPr>
        <p:spPr>
          <a:xfrm>
            <a:off x="269239" y="1189177"/>
            <a:ext cx="4482124" cy="182511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Rectangle 28">
            <a:extLst>
              <a:ext uri="{FF2B5EF4-FFF2-40B4-BE49-F238E27FC236}">
                <a16:creationId xmlns:a16="http://schemas.microsoft.com/office/drawing/2014/main" id="{60C8BFD4-9875-4A96-9331-07C90F1C3406}"/>
              </a:ext>
            </a:extLst>
          </p:cNvPr>
          <p:cNvSpPr/>
          <p:nvPr userDrawn="1"/>
        </p:nvSpPr>
        <p:spPr bwMode="auto">
          <a:xfrm>
            <a:off x="7223653" y="6497377"/>
            <a:ext cx="896630"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38" name="Rectangle 37">
            <a:extLst>
              <a:ext uri="{FF2B5EF4-FFF2-40B4-BE49-F238E27FC236}">
                <a16:creationId xmlns:a16="http://schemas.microsoft.com/office/drawing/2014/main" id="{AB416C3E-C69F-4FD1-BB54-CAF2F325F595}"/>
              </a:ext>
            </a:extLst>
          </p:cNvPr>
          <p:cNvSpPr/>
          <p:nvPr userDrawn="1"/>
        </p:nvSpPr>
        <p:spPr bwMode="auto">
          <a:xfrm>
            <a:off x="8213165" y="6497377"/>
            <a:ext cx="1400513"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itchFamily="34" charset="0"/>
                <a:cs typeface="Segoe UI" panose="020B0502040204020203" pitchFamily="34" charset="0"/>
              </a:rPr>
              <a:t>Operationalize</a:t>
            </a:r>
          </a:p>
        </p:txBody>
      </p:sp>
      <p:sp>
        <p:nvSpPr>
          <p:cNvPr id="39" name="Rectangle 38">
            <a:extLst>
              <a:ext uri="{FF2B5EF4-FFF2-40B4-BE49-F238E27FC236}">
                <a16:creationId xmlns:a16="http://schemas.microsoft.com/office/drawing/2014/main" id="{B85E21AB-46DA-47B0-9631-48EF5A1D8CA9}"/>
              </a:ext>
            </a:extLst>
          </p:cNvPr>
          <p:cNvSpPr/>
          <p:nvPr userDrawn="1"/>
        </p:nvSpPr>
        <p:spPr bwMode="auto">
          <a:xfrm>
            <a:off x="9706560" y="6497377"/>
            <a:ext cx="701011"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Refine</a:t>
            </a:r>
          </a:p>
        </p:txBody>
      </p:sp>
      <p:grpSp>
        <p:nvGrpSpPr>
          <p:cNvPr id="40" name="Group 39">
            <a:extLst>
              <a:ext uri="{FF2B5EF4-FFF2-40B4-BE49-F238E27FC236}">
                <a16:creationId xmlns:a16="http://schemas.microsoft.com/office/drawing/2014/main" id="{E33D37A5-8B37-4CAD-97F2-B624E51463AE}"/>
              </a:ext>
            </a:extLst>
          </p:cNvPr>
          <p:cNvGrpSpPr/>
          <p:nvPr userDrawn="1"/>
        </p:nvGrpSpPr>
        <p:grpSpPr>
          <a:xfrm>
            <a:off x="4348976" y="6562986"/>
            <a:ext cx="264019" cy="199029"/>
            <a:chOff x="14466543" y="3803109"/>
            <a:chExt cx="499020" cy="376126"/>
          </a:xfrm>
          <a:noFill/>
        </p:grpSpPr>
        <p:sp>
          <p:nvSpPr>
            <p:cNvPr id="41" name="Freeform 39">
              <a:extLst>
                <a:ext uri="{FF2B5EF4-FFF2-40B4-BE49-F238E27FC236}">
                  <a16:creationId xmlns:a16="http://schemas.microsoft.com/office/drawing/2014/main" id="{470C75AF-09A2-41B0-AC74-656907B54E88}"/>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42" name="Freeform 40">
              <a:extLst>
                <a:ext uri="{FF2B5EF4-FFF2-40B4-BE49-F238E27FC236}">
                  <a16:creationId xmlns:a16="http://schemas.microsoft.com/office/drawing/2014/main" id="{AF6FA46E-0116-424D-9809-6AE4D599DC2F}"/>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239321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ACTIONS-Respon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7621"/>
            <a:ext cx="6274974" cy="1979605"/>
          </a:xfrm>
        </p:spPr>
        <p:txBody>
          <a:bodyPr wrap="square">
            <a:spAutoFit/>
          </a:bodyPr>
          <a:lstStyle>
            <a:lvl1pPr marL="0" indent="0">
              <a:spcBef>
                <a:spcPts val="2941"/>
              </a:spcBef>
              <a:buClr>
                <a:schemeClr val="tx1"/>
              </a:buClr>
              <a:buFont typeface="Wingdings" panose="05000000000000000000" pitchFamily="2" charset="2"/>
              <a:buNone/>
              <a:defRPr sz="2745" b="0">
                <a:solidFill>
                  <a:schemeClr val="tx2"/>
                </a:solidFill>
                <a:latin typeface="+mn-lt"/>
              </a:defRPr>
            </a:lvl1pPr>
            <a:lvl2pPr marL="0" indent="0">
              <a:buFont typeface="Wingdings" panose="05000000000000000000" pitchFamily="2" charset="2"/>
              <a:buNone/>
              <a:defRPr sz="1961" b="0"/>
            </a:lvl2pPr>
            <a:lvl3pPr marL="0" indent="0">
              <a:spcBef>
                <a:spcPts val="588"/>
              </a:spcBef>
              <a:spcAft>
                <a:spcPts val="588"/>
              </a:spcAft>
              <a:buFont typeface="Wingdings" panose="05000000000000000000" pitchFamily="2" charset="2"/>
              <a:buNone/>
              <a:tabLst/>
              <a:defRPr sz="1961" b="1">
                <a:solidFill>
                  <a:schemeClr val="tx2"/>
                </a:solidFill>
              </a:defRPr>
            </a:lvl3pPr>
            <a:lvl4pPr marL="0" indent="0">
              <a:buFont typeface="Wingdings" panose="05000000000000000000" pitchFamily="2" charset="2"/>
              <a:buNone/>
              <a:defRPr sz="1961" b="0"/>
            </a:lvl4pPr>
            <a:lvl5pPr marL="0" indent="0">
              <a:buFont typeface="Wingdings" panose="05000000000000000000" pitchFamily="2" charset="2"/>
              <a:buNone/>
              <a:tabLst/>
              <a:defRPr sz="1961"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7883648" y="6617718"/>
              <a:ext cx="1122080" cy="286232"/>
              <a:chOff x="788364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81144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78836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759210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20" name="Rectangle 19">
            <a:extLst>
              <a:ext uri="{FF2B5EF4-FFF2-40B4-BE49-F238E27FC236}">
                <a16:creationId xmlns:a16="http://schemas.microsoft.com/office/drawing/2014/main" id="{C2975210-ECBA-450E-BCF9-D9E08A4200EB}"/>
              </a:ext>
            </a:extLst>
          </p:cNvPr>
          <p:cNvSpPr/>
          <p:nvPr userDrawn="1"/>
        </p:nvSpPr>
        <p:spPr bwMode="auto">
          <a:xfrm>
            <a:off x="8898549" y="6507656"/>
            <a:ext cx="903733"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Respond</a:t>
            </a:r>
          </a:p>
        </p:txBody>
      </p:sp>
      <p:sp>
        <p:nvSpPr>
          <p:cNvPr id="21" name="Rectangle 20">
            <a:extLst>
              <a:ext uri="{FF2B5EF4-FFF2-40B4-BE49-F238E27FC236}">
                <a16:creationId xmlns:a16="http://schemas.microsoft.com/office/drawing/2014/main" id="{99B697EB-39B7-4F02-8AD3-A6FA34E38232}"/>
              </a:ext>
            </a:extLst>
          </p:cNvPr>
          <p:cNvSpPr/>
          <p:nvPr userDrawn="1"/>
        </p:nvSpPr>
        <p:spPr bwMode="auto">
          <a:xfrm>
            <a:off x="9997633" y="6507656"/>
            <a:ext cx="940444"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Integrate</a:t>
            </a:r>
          </a:p>
        </p:txBody>
      </p:sp>
      <p:sp>
        <p:nvSpPr>
          <p:cNvPr id="22" name="Rectangle 21">
            <a:extLst>
              <a:ext uri="{FF2B5EF4-FFF2-40B4-BE49-F238E27FC236}">
                <a16:creationId xmlns:a16="http://schemas.microsoft.com/office/drawing/2014/main" id="{8EAF0611-E9E5-4877-B9E6-9FE066E35C9A}"/>
              </a:ext>
            </a:extLst>
          </p:cNvPr>
          <p:cNvSpPr/>
          <p:nvPr userDrawn="1"/>
        </p:nvSpPr>
        <p:spPr bwMode="auto">
          <a:xfrm>
            <a:off x="11133428" y="6507656"/>
            <a:ext cx="866018"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Improve</a:t>
            </a:r>
          </a:p>
        </p:txBody>
      </p:sp>
      <p:grpSp>
        <p:nvGrpSpPr>
          <p:cNvPr id="29" name="Group 28">
            <a:extLst>
              <a:ext uri="{FF2B5EF4-FFF2-40B4-BE49-F238E27FC236}">
                <a16:creationId xmlns:a16="http://schemas.microsoft.com/office/drawing/2014/main" id="{E9BABD0A-BC35-4710-BC1D-0F3A41C18C78}"/>
              </a:ext>
            </a:extLst>
          </p:cNvPr>
          <p:cNvGrpSpPr/>
          <p:nvPr userDrawn="1"/>
        </p:nvGrpSpPr>
        <p:grpSpPr>
          <a:xfrm>
            <a:off x="4348976" y="6562986"/>
            <a:ext cx="264019" cy="199029"/>
            <a:chOff x="14466543" y="3803109"/>
            <a:chExt cx="499020" cy="376126"/>
          </a:xfrm>
          <a:noFill/>
        </p:grpSpPr>
        <p:sp>
          <p:nvSpPr>
            <p:cNvPr id="38" name="Freeform 39">
              <a:extLst>
                <a:ext uri="{FF2B5EF4-FFF2-40B4-BE49-F238E27FC236}">
                  <a16:creationId xmlns:a16="http://schemas.microsoft.com/office/drawing/2014/main" id="{A7F3F9B1-2E6B-4763-BAA0-F41C0DFCC960}"/>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39" name="Freeform 40">
              <a:extLst>
                <a:ext uri="{FF2B5EF4-FFF2-40B4-BE49-F238E27FC236}">
                  <a16:creationId xmlns:a16="http://schemas.microsoft.com/office/drawing/2014/main" id="{23626217-BB60-4BD7-8BC6-A61B937FCE17}"/>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11687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ACTIONS-Integra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7621"/>
            <a:ext cx="6274974" cy="1979605"/>
          </a:xfrm>
        </p:spPr>
        <p:txBody>
          <a:bodyPr wrap="square">
            <a:spAutoFit/>
          </a:bodyPr>
          <a:lstStyle>
            <a:lvl1pPr marL="0" indent="0">
              <a:spcBef>
                <a:spcPts val="2941"/>
              </a:spcBef>
              <a:buClr>
                <a:schemeClr val="tx1"/>
              </a:buClr>
              <a:buFont typeface="Wingdings" panose="05000000000000000000" pitchFamily="2" charset="2"/>
              <a:buNone/>
              <a:defRPr sz="2745" b="0">
                <a:solidFill>
                  <a:schemeClr val="tx2"/>
                </a:solidFill>
                <a:latin typeface="+mn-lt"/>
              </a:defRPr>
            </a:lvl1pPr>
            <a:lvl2pPr marL="0" indent="0">
              <a:buFont typeface="Wingdings" panose="05000000000000000000" pitchFamily="2" charset="2"/>
              <a:buNone/>
              <a:defRPr sz="1961" b="0"/>
            </a:lvl2pPr>
            <a:lvl3pPr marL="0" indent="0">
              <a:spcBef>
                <a:spcPts val="588"/>
              </a:spcBef>
              <a:spcAft>
                <a:spcPts val="588"/>
              </a:spcAft>
              <a:buFont typeface="Wingdings" panose="05000000000000000000" pitchFamily="2" charset="2"/>
              <a:buNone/>
              <a:tabLst/>
              <a:defRPr sz="1961" b="1">
                <a:solidFill>
                  <a:schemeClr val="tx2"/>
                </a:solidFill>
              </a:defRPr>
            </a:lvl3pPr>
            <a:lvl4pPr marL="0" indent="0">
              <a:buFont typeface="Wingdings" panose="05000000000000000000" pitchFamily="2" charset="2"/>
              <a:buNone/>
              <a:defRPr sz="1961" b="0"/>
            </a:lvl4pPr>
            <a:lvl5pPr marL="0" indent="0">
              <a:buFont typeface="Wingdings" panose="05000000000000000000" pitchFamily="2" charset="2"/>
              <a:buNone/>
              <a:tabLst/>
              <a:defRPr sz="1961"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7883648" y="6617718"/>
              <a:ext cx="1122080" cy="286232"/>
              <a:chOff x="788364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81144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78836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759210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20" name="Rectangle 19">
            <a:extLst>
              <a:ext uri="{FF2B5EF4-FFF2-40B4-BE49-F238E27FC236}">
                <a16:creationId xmlns:a16="http://schemas.microsoft.com/office/drawing/2014/main" id="{C2975210-ECBA-450E-BCF9-D9E08A4200EB}"/>
              </a:ext>
            </a:extLst>
          </p:cNvPr>
          <p:cNvSpPr/>
          <p:nvPr userDrawn="1"/>
        </p:nvSpPr>
        <p:spPr bwMode="auto">
          <a:xfrm>
            <a:off x="8898549" y="6507656"/>
            <a:ext cx="903733"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Respond</a:t>
            </a:r>
          </a:p>
        </p:txBody>
      </p:sp>
      <p:sp>
        <p:nvSpPr>
          <p:cNvPr id="21" name="Rectangle 20">
            <a:extLst>
              <a:ext uri="{FF2B5EF4-FFF2-40B4-BE49-F238E27FC236}">
                <a16:creationId xmlns:a16="http://schemas.microsoft.com/office/drawing/2014/main" id="{99B697EB-39B7-4F02-8AD3-A6FA34E38232}"/>
              </a:ext>
            </a:extLst>
          </p:cNvPr>
          <p:cNvSpPr/>
          <p:nvPr userDrawn="1"/>
        </p:nvSpPr>
        <p:spPr bwMode="auto">
          <a:xfrm>
            <a:off x="9997633" y="6507656"/>
            <a:ext cx="940444"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Integrate</a:t>
            </a:r>
          </a:p>
        </p:txBody>
      </p:sp>
      <p:sp>
        <p:nvSpPr>
          <p:cNvPr id="22" name="Rectangle 21">
            <a:extLst>
              <a:ext uri="{FF2B5EF4-FFF2-40B4-BE49-F238E27FC236}">
                <a16:creationId xmlns:a16="http://schemas.microsoft.com/office/drawing/2014/main" id="{8EAF0611-E9E5-4877-B9E6-9FE066E35C9A}"/>
              </a:ext>
            </a:extLst>
          </p:cNvPr>
          <p:cNvSpPr/>
          <p:nvPr userDrawn="1"/>
        </p:nvSpPr>
        <p:spPr bwMode="auto">
          <a:xfrm>
            <a:off x="11133428" y="6507656"/>
            <a:ext cx="866018"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Improve</a:t>
            </a:r>
          </a:p>
        </p:txBody>
      </p:sp>
      <p:grpSp>
        <p:nvGrpSpPr>
          <p:cNvPr id="29" name="Group 28">
            <a:extLst>
              <a:ext uri="{FF2B5EF4-FFF2-40B4-BE49-F238E27FC236}">
                <a16:creationId xmlns:a16="http://schemas.microsoft.com/office/drawing/2014/main" id="{8BB1494E-3C26-4F84-AAFE-D949AA7C7B27}"/>
              </a:ext>
            </a:extLst>
          </p:cNvPr>
          <p:cNvGrpSpPr/>
          <p:nvPr userDrawn="1"/>
        </p:nvGrpSpPr>
        <p:grpSpPr>
          <a:xfrm>
            <a:off x="4348976" y="6562986"/>
            <a:ext cx="264019" cy="199029"/>
            <a:chOff x="14466543" y="3803109"/>
            <a:chExt cx="499020" cy="376126"/>
          </a:xfrm>
          <a:noFill/>
        </p:grpSpPr>
        <p:sp>
          <p:nvSpPr>
            <p:cNvPr id="38" name="Freeform 39">
              <a:extLst>
                <a:ext uri="{FF2B5EF4-FFF2-40B4-BE49-F238E27FC236}">
                  <a16:creationId xmlns:a16="http://schemas.microsoft.com/office/drawing/2014/main" id="{CE112AC4-2AE7-4BB1-BBDD-DF116FD3F368}"/>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39" name="Freeform 40">
              <a:extLst>
                <a:ext uri="{FF2B5EF4-FFF2-40B4-BE49-F238E27FC236}">
                  <a16:creationId xmlns:a16="http://schemas.microsoft.com/office/drawing/2014/main" id="{7EFED177-58E7-46B0-B7ED-9C36068FC4D8}"/>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1716678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ACTIONS-Refin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7621"/>
            <a:ext cx="6274974" cy="1979605"/>
          </a:xfrm>
        </p:spPr>
        <p:txBody>
          <a:bodyPr wrap="square">
            <a:spAutoFit/>
          </a:bodyPr>
          <a:lstStyle>
            <a:lvl1pPr marL="0" indent="0">
              <a:spcBef>
                <a:spcPts val="2941"/>
              </a:spcBef>
              <a:buClr>
                <a:schemeClr val="tx1"/>
              </a:buClr>
              <a:buFont typeface="Wingdings" panose="05000000000000000000" pitchFamily="2" charset="2"/>
              <a:buNone/>
              <a:defRPr sz="2745" b="0">
                <a:solidFill>
                  <a:schemeClr val="tx2"/>
                </a:solidFill>
                <a:latin typeface="+mn-lt"/>
              </a:defRPr>
            </a:lvl1pPr>
            <a:lvl2pPr marL="0" indent="0">
              <a:buFont typeface="Wingdings" panose="05000000000000000000" pitchFamily="2" charset="2"/>
              <a:buNone/>
              <a:defRPr sz="1961" b="0"/>
            </a:lvl2pPr>
            <a:lvl3pPr marL="0" indent="0">
              <a:spcBef>
                <a:spcPts val="588"/>
              </a:spcBef>
              <a:spcAft>
                <a:spcPts val="588"/>
              </a:spcAft>
              <a:buFont typeface="Wingdings" panose="05000000000000000000" pitchFamily="2" charset="2"/>
              <a:buNone/>
              <a:tabLst/>
              <a:defRPr sz="1961" b="1">
                <a:solidFill>
                  <a:schemeClr val="tx2"/>
                </a:solidFill>
              </a:defRPr>
            </a:lvl3pPr>
            <a:lvl4pPr marL="0" indent="0">
              <a:buFont typeface="Wingdings" panose="05000000000000000000" pitchFamily="2" charset="2"/>
              <a:buNone/>
              <a:defRPr sz="1961" b="0"/>
            </a:lvl4pPr>
            <a:lvl5pPr marL="0" indent="0">
              <a:buFont typeface="Wingdings" panose="05000000000000000000" pitchFamily="2" charset="2"/>
              <a:buNone/>
              <a:tabLst/>
              <a:defRPr sz="1961"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 name="Group 8">
            <a:extLst>
              <a:ext uri="{FF2B5EF4-FFF2-40B4-BE49-F238E27FC236}">
                <a16:creationId xmlns:a16="http://schemas.microsoft.com/office/drawing/2014/main" id="{4C4253CE-7AEE-493D-AE4B-BED633D2BB99}"/>
              </a:ext>
            </a:extLst>
          </p:cNvPr>
          <p:cNvGrpSpPr/>
          <p:nvPr userDrawn="1"/>
        </p:nvGrpSpPr>
        <p:grpSpPr>
          <a:xfrm>
            <a:off x="1160" y="6497376"/>
            <a:ext cx="12192000" cy="372822"/>
            <a:chOff x="1183" y="6571858"/>
            <a:chExt cx="12436475" cy="380244"/>
          </a:xfrm>
        </p:grpSpPr>
        <p:grpSp>
          <p:nvGrpSpPr>
            <p:cNvPr id="23" name="Group 22">
              <a:extLst>
                <a:ext uri="{FF2B5EF4-FFF2-40B4-BE49-F238E27FC236}">
                  <a16:creationId xmlns:a16="http://schemas.microsoft.com/office/drawing/2014/main" id="{EF7B23A9-5417-45B1-8F9F-A9F55A1F4EB0}"/>
                </a:ext>
              </a:extLst>
            </p:cNvPr>
            <p:cNvGrpSpPr/>
            <p:nvPr userDrawn="1"/>
          </p:nvGrpSpPr>
          <p:grpSpPr>
            <a:xfrm>
              <a:off x="1183" y="6571858"/>
              <a:ext cx="12436475" cy="380244"/>
              <a:chOff x="0" y="6537325"/>
              <a:chExt cx="12436475" cy="380244"/>
            </a:xfrm>
          </p:grpSpPr>
          <p:cxnSp>
            <p:nvCxnSpPr>
              <p:cNvPr id="24" name="Straight Connector 23">
                <a:extLst>
                  <a:ext uri="{FF2B5EF4-FFF2-40B4-BE49-F238E27FC236}">
                    <a16:creationId xmlns:a16="http://schemas.microsoft.com/office/drawing/2014/main" id="{F15BA7F0-2EBC-4CF1-92C6-7D6289E5E1CC}"/>
                  </a:ext>
                </a:extLst>
              </p:cNvPr>
              <p:cNvCxnSpPr>
                <a:cxnSpLocks/>
              </p:cNvCxnSpPr>
              <p:nvPr/>
            </p:nvCxnSpPr>
            <p:spPr>
              <a:xfrm>
                <a:off x="0" y="6537325"/>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9A98E3-1987-43CE-AF9C-FC6B2F6D0D9F}"/>
                  </a:ext>
                </a:extLst>
              </p:cNvPr>
              <p:cNvCxnSpPr>
                <a:cxnSpLocks/>
              </p:cNvCxnSpPr>
              <p:nvPr/>
            </p:nvCxnSpPr>
            <p:spPr>
              <a:xfrm>
                <a:off x="0" y="6917569"/>
                <a:ext cx="12436475"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6" name="Rectangle 25">
              <a:extLst>
                <a:ext uri="{FF2B5EF4-FFF2-40B4-BE49-F238E27FC236}">
                  <a16:creationId xmlns:a16="http://schemas.microsoft.com/office/drawing/2014/main" id="{7FB6CC5E-1AD0-4E46-90A3-B045EC763042}"/>
                </a:ext>
              </a:extLst>
            </p:cNvPr>
            <p:cNvSpPr/>
            <p:nvPr userDrawn="1"/>
          </p:nvSpPr>
          <p:spPr bwMode="auto">
            <a:xfrm>
              <a:off x="2334989" y="6595810"/>
              <a:ext cx="1390124" cy="341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lgn="r" defTabSz="914102" fontAlgn="base">
                <a:lnSpc>
                  <a:spcPct val="90000"/>
                </a:lnSpc>
                <a:spcBef>
                  <a:spcPct val="0"/>
                </a:spcBef>
                <a:spcAft>
                  <a:spcPct val="0"/>
                </a:spcAft>
              </a:pPr>
              <a:r>
                <a:rPr lang="en-US" sz="1765" spc="49">
                  <a:solidFill>
                    <a:schemeClr val="bg1">
                      <a:lumMod val="65000"/>
                    </a:schemeClr>
                  </a:solidFill>
                  <a:latin typeface="Segoe UI Semibold" panose="020B0702040204020203" pitchFamily="34" charset="0"/>
                  <a:cs typeface="Segoe UI Semibold" panose="020B0702040204020203" pitchFamily="34" charset="0"/>
                </a:rPr>
                <a:t>SOLUTIONS</a:t>
              </a:r>
              <a:endParaRPr lang="en-US" sz="1568"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28" name="Rectangle 27">
              <a:extLst>
                <a:ext uri="{FF2B5EF4-FFF2-40B4-BE49-F238E27FC236}">
                  <a16:creationId xmlns:a16="http://schemas.microsoft.com/office/drawing/2014/main" id="{CDAB2B50-8D6D-4A65-A745-C15B38E06096}"/>
                </a:ext>
              </a:extLst>
            </p:cNvPr>
            <p:cNvSpPr/>
            <p:nvPr/>
          </p:nvSpPr>
          <p:spPr bwMode="auto">
            <a:xfrm>
              <a:off x="4772812" y="6617718"/>
              <a:ext cx="775212"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ea typeface="Segoe UI" pitchFamily="34" charset="0"/>
                  <a:cs typeface="Segoe UI Semibold" panose="020B0702040204020203" pitchFamily="34" charset="0"/>
                </a:rPr>
                <a:t>THINGS</a:t>
              </a:r>
            </a:p>
          </p:txBody>
        </p:sp>
        <p:grpSp>
          <p:nvGrpSpPr>
            <p:cNvPr id="8" name="Group 7">
              <a:extLst>
                <a:ext uri="{FF2B5EF4-FFF2-40B4-BE49-F238E27FC236}">
                  <a16:creationId xmlns:a16="http://schemas.microsoft.com/office/drawing/2014/main" id="{E16203A9-F26A-49B3-9926-B80AF25F0A2A}"/>
                </a:ext>
              </a:extLst>
            </p:cNvPr>
            <p:cNvGrpSpPr/>
            <p:nvPr userDrawn="1"/>
          </p:nvGrpSpPr>
          <p:grpSpPr>
            <a:xfrm>
              <a:off x="7883648" y="6617718"/>
              <a:ext cx="1122080" cy="286232"/>
              <a:chOff x="7883648" y="6617718"/>
              <a:chExt cx="1122080" cy="286232"/>
            </a:xfrm>
          </p:grpSpPr>
          <p:sp>
            <p:nvSpPr>
              <p:cNvPr id="31" name="Rectangle 30">
                <a:extLst>
                  <a:ext uri="{FF2B5EF4-FFF2-40B4-BE49-F238E27FC236}">
                    <a16:creationId xmlns:a16="http://schemas.microsoft.com/office/drawing/2014/main" id="{95BBD1E1-31A6-4EA3-8420-B5FE7BD38584}"/>
                  </a:ext>
                </a:extLst>
              </p:cNvPr>
              <p:cNvSpPr/>
              <p:nvPr/>
            </p:nvSpPr>
            <p:spPr bwMode="auto">
              <a:xfrm>
                <a:off x="8114458" y="6617718"/>
                <a:ext cx="891270" cy="286232"/>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Semibold" panose="020B0702040204020203" pitchFamily="34" charset="0"/>
                    <a:cs typeface="Segoe UI Semibold" panose="020B0702040204020203" pitchFamily="34" charset="0"/>
                  </a:rPr>
                  <a:t>ACTIONS</a:t>
                </a:r>
              </a:p>
            </p:txBody>
          </p:sp>
          <p:sp>
            <p:nvSpPr>
              <p:cNvPr id="32" name="arrow">
                <a:extLst>
                  <a:ext uri="{FF2B5EF4-FFF2-40B4-BE49-F238E27FC236}">
                    <a16:creationId xmlns:a16="http://schemas.microsoft.com/office/drawing/2014/main" id="{4A0F9E73-3013-4E44-A352-E93B13FE5F81}"/>
                  </a:ext>
                </a:extLst>
              </p:cNvPr>
              <p:cNvSpPr>
                <a:spLocks noChangeAspect="1" noEditPoints="1"/>
              </p:cNvSpPr>
              <p:nvPr/>
            </p:nvSpPr>
            <p:spPr bwMode="auto">
              <a:xfrm>
                <a:off x="7883648" y="6669394"/>
                <a:ext cx="198188" cy="18288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grpSp>
          <p:nvGrpSpPr>
            <p:cNvPr id="7" name="Group 6">
              <a:extLst>
                <a:ext uri="{FF2B5EF4-FFF2-40B4-BE49-F238E27FC236}">
                  <a16:creationId xmlns:a16="http://schemas.microsoft.com/office/drawing/2014/main" id="{0A6ACA88-80DB-4E17-BB92-8F0CC5357936}"/>
                </a:ext>
              </a:extLst>
            </p:cNvPr>
            <p:cNvGrpSpPr/>
            <p:nvPr userDrawn="1"/>
          </p:nvGrpSpPr>
          <p:grpSpPr>
            <a:xfrm>
              <a:off x="6160431" y="6616830"/>
              <a:ext cx="1168974" cy="288007"/>
              <a:chOff x="6160431" y="6616830"/>
              <a:chExt cx="1168974" cy="288007"/>
            </a:xfrm>
          </p:grpSpPr>
          <p:sp>
            <p:nvSpPr>
              <p:cNvPr id="34" name="Rectangle 33">
                <a:extLst>
                  <a:ext uri="{FF2B5EF4-FFF2-40B4-BE49-F238E27FC236}">
                    <a16:creationId xmlns:a16="http://schemas.microsoft.com/office/drawing/2014/main" id="{A987931C-C0CE-4F16-9C00-4D0B929B02ED}"/>
                  </a:ext>
                </a:extLst>
              </p:cNvPr>
              <p:cNvSpPr/>
              <p:nvPr/>
            </p:nvSpPr>
            <p:spPr bwMode="auto">
              <a:xfrm>
                <a:off x="6387625" y="6616830"/>
                <a:ext cx="941780" cy="288007"/>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Semibold" panose="020B0702040204020203" pitchFamily="34" charset="0"/>
                    <a:cs typeface="Segoe UI Semibold" panose="020B0702040204020203" pitchFamily="34" charset="0"/>
                  </a:rPr>
                  <a:t>INSIGHTS</a:t>
                </a:r>
              </a:p>
            </p:txBody>
          </p:sp>
          <p:sp>
            <p:nvSpPr>
              <p:cNvPr id="35" name="magnify">
                <a:extLst>
                  <a:ext uri="{FF2B5EF4-FFF2-40B4-BE49-F238E27FC236}">
                    <a16:creationId xmlns:a16="http://schemas.microsoft.com/office/drawing/2014/main" id="{6942164E-C2BC-4ABF-980F-A3495DBA2961}"/>
                  </a:ext>
                </a:extLst>
              </p:cNvPr>
              <p:cNvSpPr>
                <a:spLocks noChangeAspect="1" noEditPoints="1"/>
              </p:cNvSpPr>
              <p:nvPr/>
            </p:nvSpPr>
            <p:spPr bwMode="auto">
              <a:xfrm rot="786292" flipH="1">
                <a:off x="6160431" y="6669524"/>
                <a:ext cx="186179" cy="182621"/>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solidFill>
                    <a:schemeClr val="bg1">
                      <a:lumMod val="65000"/>
                    </a:schemeClr>
                  </a:solidFill>
                </a:endParaRPr>
              </a:p>
            </p:txBody>
          </p:sp>
        </p:grpSp>
        <p:cxnSp>
          <p:nvCxnSpPr>
            <p:cNvPr id="36" name="Straight Connector 35">
              <a:extLst>
                <a:ext uri="{FF2B5EF4-FFF2-40B4-BE49-F238E27FC236}">
                  <a16:creationId xmlns:a16="http://schemas.microsoft.com/office/drawing/2014/main" id="{C9F58D81-CF6A-4905-B841-1C15F1937319}"/>
                </a:ext>
              </a:extLst>
            </p:cNvPr>
            <p:cNvCxnSpPr/>
            <p:nvPr userDrawn="1"/>
          </p:nvCxnSpPr>
          <p:spPr>
            <a:xfrm>
              <a:off x="5761038"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5A335D-A8AB-4706-AFDF-D7610B51FB10}"/>
                </a:ext>
              </a:extLst>
            </p:cNvPr>
            <p:cNvCxnSpPr/>
            <p:nvPr userDrawn="1"/>
          </p:nvCxnSpPr>
          <p:spPr>
            <a:xfrm>
              <a:off x="7592102" y="6612788"/>
              <a:ext cx="0" cy="274320"/>
            </a:xfrm>
            <a:prstGeom prst="line">
              <a:avLst/>
            </a:prstGeom>
            <a:ln w="31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41FA688A-561C-4456-9598-B7E7878A128F}"/>
              </a:ext>
            </a:extLst>
          </p:cNvPr>
          <p:cNvSpPr>
            <a:spLocks noGrp="1"/>
          </p:cNvSpPr>
          <p:nvPr userDrawn="1">
            <p:ph type="title"/>
          </p:nvPr>
        </p:nvSpPr>
        <p:spPr/>
        <p:txBody>
          <a:bodyPr/>
          <a:lstStyle/>
          <a:p>
            <a:r>
              <a:rPr lang="en-US"/>
              <a:t>Click to edit Master title style</a:t>
            </a:r>
          </a:p>
        </p:txBody>
      </p:sp>
      <p:sp>
        <p:nvSpPr>
          <p:cNvPr id="20" name="Rectangle 19">
            <a:extLst>
              <a:ext uri="{FF2B5EF4-FFF2-40B4-BE49-F238E27FC236}">
                <a16:creationId xmlns:a16="http://schemas.microsoft.com/office/drawing/2014/main" id="{C2975210-ECBA-450E-BCF9-D9E08A4200EB}"/>
              </a:ext>
            </a:extLst>
          </p:cNvPr>
          <p:cNvSpPr/>
          <p:nvPr userDrawn="1"/>
        </p:nvSpPr>
        <p:spPr bwMode="auto">
          <a:xfrm>
            <a:off x="8898549" y="6507656"/>
            <a:ext cx="903733"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Respond</a:t>
            </a:r>
          </a:p>
        </p:txBody>
      </p:sp>
      <p:sp>
        <p:nvSpPr>
          <p:cNvPr id="21" name="Rectangle 20">
            <a:extLst>
              <a:ext uri="{FF2B5EF4-FFF2-40B4-BE49-F238E27FC236}">
                <a16:creationId xmlns:a16="http://schemas.microsoft.com/office/drawing/2014/main" id="{99B697EB-39B7-4F02-8AD3-A6FA34E38232}"/>
              </a:ext>
            </a:extLst>
          </p:cNvPr>
          <p:cNvSpPr/>
          <p:nvPr userDrawn="1"/>
        </p:nvSpPr>
        <p:spPr bwMode="auto">
          <a:xfrm>
            <a:off x="9997633" y="6507656"/>
            <a:ext cx="940444"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bg1">
                    <a:lumMod val="65000"/>
                  </a:schemeClr>
                </a:solidFill>
                <a:latin typeface="Segoe UI" panose="020B0502040204020203" pitchFamily="34" charset="0"/>
                <a:ea typeface="Segoe UI" panose="020B0502040204020203" pitchFamily="34" charset="0"/>
                <a:cs typeface="Segoe UI" panose="020B0502040204020203" pitchFamily="34" charset="0"/>
              </a:rPr>
              <a:t>Integrate</a:t>
            </a:r>
          </a:p>
        </p:txBody>
      </p:sp>
      <p:sp>
        <p:nvSpPr>
          <p:cNvPr id="22" name="Rectangle 21">
            <a:extLst>
              <a:ext uri="{FF2B5EF4-FFF2-40B4-BE49-F238E27FC236}">
                <a16:creationId xmlns:a16="http://schemas.microsoft.com/office/drawing/2014/main" id="{8EAF0611-E9E5-4877-B9E6-9FE066E35C9A}"/>
              </a:ext>
            </a:extLst>
          </p:cNvPr>
          <p:cNvSpPr/>
          <p:nvPr userDrawn="1"/>
        </p:nvSpPr>
        <p:spPr bwMode="auto">
          <a:xfrm>
            <a:off x="11133428" y="6507656"/>
            <a:ext cx="866018" cy="371176"/>
          </a:xfrm>
          <a:prstGeom prst="rect">
            <a:avLst/>
          </a:prstGeom>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89642" tIns="89642" rIns="89642" bIns="89642" numCol="1" spcCol="0" rtlCol="0" fromWordArt="0" anchor="ctr" anchorCtr="0" forceAA="0" compatLnSpc="1">
            <a:prstTxWarp prst="textNoShape">
              <a:avLst/>
            </a:prstTxWarp>
            <a:spAutoFit/>
          </a:bodyPr>
          <a:lstStyle/>
          <a:p>
            <a:pPr lvl="0" defTabSz="914102" fontAlgn="base">
              <a:lnSpc>
                <a:spcPct val="90000"/>
              </a:lnSpc>
              <a:spcBef>
                <a:spcPct val="0"/>
              </a:spcBef>
              <a:spcAft>
                <a:spcPct val="0"/>
              </a:spcAft>
            </a:pPr>
            <a:r>
              <a:rPr lang="en-US" sz="1372" spc="49">
                <a:solidFill>
                  <a:schemeClr val="tx2"/>
                </a:solidFill>
                <a:latin typeface="Segoe UI" panose="020B0502040204020203" pitchFamily="34" charset="0"/>
                <a:ea typeface="Segoe UI" panose="020B0502040204020203" pitchFamily="34" charset="0"/>
                <a:cs typeface="Segoe UI" panose="020B0502040204020203" pitchFamily="34" charset="0"/>
              </a:rPr>
              <a:t>Improve</a:t>
            </a:r>
          </a:p>
        </p:txBody>
      </p:sp>
      <p:grpSp>
        <p:nvGrpSpPr>
          <p:cNvPr id="29" name="Group 28">
            <a:extLst>
              <a:ext uri="{FF2B5EF4-FFF2-40B4-BE49-F238E27FC236}">
                <a16:creationId xmlns:a16="http://schemas.microsoft.com/office/drawing/2014/main" id="{FE3A3932-B910-4983-A5BF-9E79E01331E3}"/>
              </a:ext>
            </a:extLst>
          </p:cNvPr>
          <p:cNvGrpSpPr/>
          <p:nvPr userDrawn="1"/>
        </p:nvGrpSpPr>
        <p:grpSpPr>
          <a:xfrm>
            <a:off x="4348976" y="6562986"/>
            <a:ext cx="264019" cy="199029"/>
            <a:chOff x="14466543" y="3803109"/>
            <a:chExt cx="499020" cy="376126"/>
          </a:xfrm>
          <a:noFill/>
        </p:grpSpPr>
        <p:sp>
          <p:nvSpPr>
            <p:cNvPr id="38" name="Freeform 39">
              <a:extLst>
                <a:ext uri="{FF2B5EF4-FFF2-40B4-BE49-F238E27FC236}">
                  <a16:creationId xmlns:a16="http://schemas.microsoft.com/office/drawing/2014/main" id="{A157E702-D957-4578-8782-61ED239C25FB}"/>
                </a:ext>
              </a:extLst>
            </p:cNvPr>
            <p:cNvSpPr>
              <a:spLocks/>
            </p:cNvSpPr>
            <p:nvPr/>
          </p:nvSpPr>
          <p:spPr bwMode="auto">
            <a:xfrm>
              <a:off x="14657821" y="3803109"/>
              <a:ext cx="149599" cy="71595"/>
            </a:xfrm>
            <a:custGeom>
              <a:avLst/>
              <a:gdLst>
                <a:gd name="T0" fmla="*/ 408 w 560"/>
                <a:gd name="T1" fmla="*/ 187 h 265"/>
                <a:gd name="T2" fmla="*/ 523 w 560"/>
                <a:gd name="T3" fmla="*/ 187 h 265"/>
                <a:gd name="T4" fmla="*/ 523 w 560"/>
                <a:gd name="T5" fmla="*/ 187 h 265"/>
                <a:gd name="T6" fmla="*/ 530 w 560"/>
                <a:gd name="T7" fmla="*/ 187 h 265"/>
                <a:gd name="T8" fmla="*/ 537 w 560"/>
                <a:gd name="T9" fmla="*/ 185 h 265"/>
                <a:gd name="T10" fmla="*/ 544 w 560"/>
                <a:gd name="T11" fmla="*/ 181 h 265"/>
                <a:gd name="T12" fmla="*/ 550 w 560"/>
                <a:gd name="T13" fmla="*/ 177 h 265"/>
                <a:gd name="T14" fmla="*/ 554 w 560"/>
                <a:gd name="T15" fmla="*/ 172 h 265"/>
                <a:gd name="T16" fmla="*/ 557 w 560"/>
                <a:gd name="T17" fmla="*/ 164 h 265"/>
                <a:gd name="T18" fmla="*/ 559 w 560"/>
                <a:gd name="T19" fmla="*/ 158 h 265"/>
                <a:gd name="T20" fmla="*/ 560 w 560"/>
                <a:gd name="T21" fmla="*/ 150 h 265"/>
                <a:gd name="T22" fmla="*/ 560 w 560"/>
                <a:gd name="T23" fmla="*/ 37 h 265"/>
                <a:gd name="T24" fmla="*/ 560 w 560"/>
                <a:gd name="T25" fmla="*/ 37 h 265"/>
                <a:gd name="T26" fmla="*/ 559 w 560"/>
                <a:gd name="T27" fmla="*/ 29 h 265"/>
                <a:gd name="T28" fmla="*/ 557 w 560"/>
                <a:gd name="T29" fmla="*/ 22 h 265"/>
                <a:gd name="T30" fmla="*/ 554 w 560"/>
                <a:gd name="T31" fmla="*/ 15 h 265"/>
                <a:gd name="T32" fmla="*/ 550 w 560"/>
                <a:gd name="T33" fmla="*/ 10 h 265"/>
                <a:gd name="T34" fmla="*/ 544 w 560"/>
                <a:gd name="T35" fmla="*/ 6 h 265"/>
                <a:gd name="T36" fmla="*/ 537 w 560"/>
                <a:gd name="T37" fmla="*/ 2 h 265"/>
                <a:gd name="T38" fmla="*/ 530 w 560"/>
                <a:gd name="T39" fmla="*/ 0 h 265"/>
                <a:gd name="T40" fmla="*/ 523 w 560"/>
                <a:gd name="T41" fmla="*/ 0 h 265"/>
                <a:gd name="T42" fmla="*/ 37 w 560"/>
                <a:gd name="T43" fmla="*/ 0 h 265"/>
                <a:gd name="T44" fmla="*/ 37 w 560"/>
                <a:gd name="T45" fmla="*/ 0 h 265"/>
                <a:gd name="T46" fmla="*/ 30 w 560"/>
                <a:gd name="T47" fmla="*/ 0 h 265"/>
                <a:gd name="T48" fmla="*/ 23 w 560"/>
                <a:gd name="T49" fmla="*/ 2 h 265"/>
                <a:gd name="T50" fmla="*/ 17 w 560"/>
                <a:gd name="T51" fmla="*/ 6 h 265"/>
                <a:gd name="T52" fmla="*/ 12 w 560"/>
                <a:gd name="T53" fmla="*/ 10 h 265"/>
                <a:gd name="T54" fmla="*/ 6 w 560"/>
                <a:gd name="T55" fmla="*/ 15 h 265"/>
                <a:gd name="T56" fmla="*/ 3 w 560"/>
                <a:gd name="T57" fmla="*/ 22 h 265"/>
                <a:gd name="T58" fmla="*/ 1 w 560"/>
                <a:gd name="T59" fmla="*/ 29 h 265"/>
                <a:gd name="T60" fmla="*/ 0 w 560"/>
                <a:gd name="T61" fmla="*/ 37 h 265"/>
                <a:gd name="T62" fmla="*/ 0 w 560"/>
                <a:gd name="T63" fmla="*/ 150 h 265"/>
                <a:gd name="T64" fmla="*/ 0 w 560"/>
                <a:gd name="T65" fmla="*/ 150 h 265"/>
                <a:gd name="T66" fmla="*/ 1 w 560"/>
                <a:gd name="T67" fmla="*/ 158 h 265"/>
                <a:gd name="T68" fmla="*/ 3 w 560"/>
                <a:gd name="T69" fmla="*/ 164 h 265"/>
                <a:gd name="T70" fmla="*/ 6 w 560"/>
                <a:gd name="T71" fmla="*/ 172 h 265"/>
                <a:gd name="T72" fmla="*/ 12 w 560"/>
                <a:gd name="T73" fmla="*/ 177 h 265"/>
                <a:gd name="T74" fmla="*/ 17 w 560"/>
                <a:gd name="T75" fmla="*/ 181 h 265"/>
                <a:gd name="T76" fmla="*/ 23 w 560"/>
                <a:gd name="T77" fmla="*/ 185 h 265"/>
                <a:gd name="T78" fmla="*/ 30 w 560"/>
                <a:gd name="T79" fmla="*/ 187 h 265"/>
                <a:gd name="T80" fmla="*/ 37 w 560"/>
                <a:gd name="T81" fmla="*/ 187 h 265"/>
                <a:gd name="T82" fmla="*/ 153 w 560"/>
                <a:gd name="T83" fmla="*/ 187 h 265"/>
                <a:gd name="T84" fmla="*/ 153 w 560"/>
                <a:gd name="T85" fmla="*/ 265 h 265"/>
                <a:gd name="T86" fmla="*/ 408 w 560"/>
                <a:gd name="T87" fmla="*/ 265 h 265"/>
                <a:gd name="T88" fmla="*/ 408 w 560"/>
                <a:gd name="T89" fmla="*/ 1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265">
                  <a:moveTo>
                    <a:pt x="408" y="187"/>
                  </a:moveTo>
                  <a:lnTo>
                    <a:pt x="523" y="187"/>
                  </a:lnTo>
                  <a:lnTo>
                    <a:pt x="523" y="187"/>
                  </a:lnTo>
                  <a:lnTo>
                    <a:pt x="530" y="187"/>
                  </a:lnTo>
                  <a:lnTo>
                    <a:pt x="537" y="185"/>
                  </a:lnTo>
                  <a:lnTo>
                    <a:pt x="544" y="181"/>
                  </a:lnTo>
                  <a:lnTo>
                    <a:pt x="550" y="177"/>
                  </a:lnTo>
                  <a:lnTo>
                    <a:pt x="554" y="172"/>
                  </a:lnTo>
                  <a:lnTo>
                    <a:pt x="557" y="164"/>
                  </a:lnTo>
                  <a:lnTo>
                    <a:pt x="559" y="158"/>
                  </a:lnTo>
                  <a:lnTo>
                    <a:pt x="560" y="150"/>
                  </a:lnTo>
                  <a:lnTo>
                    <a:pt x="560" y="37"/>
                  </a:lnTo>
                  <a:lnTo>
                    <a:pt x="560" y="37"/>
                  </a:lnTo>
                  <a:lnTo>
                    <a:pt x="559" y="29"/>
                  </a:lnTo>
                  <a:lnTo>
                    <a:pt x="557" y="22"/>
                  </a:lnTo>
                  <a:lnTo>
                    <a:pt x="554" y="15"/>
                  </a:lnTo>
                  <a:lnTo>
                    <a:pt x="550" y="10"/>
                  </a:lnTo>
                  <a:lnTo>
                    <a:pt x="544" y="6"/>
                  </a:lnTo>
                  <a:lnTo>
                    <a:pt x="537" y="2"/>
                  </a:lnTo>
                  <a:lnTo>
                    <a:pt x="530" y="0"/>
                  </a:lnTo>
                  <a:lnTo>
                    <a:pt x="523" y="0"/>
                  </a:lnTo>
                  <a:lnTo>
                    <a:pt x="37" y="0"/>
                  </a:lnTo>
                  <a:lnTo>
                    <a:pt x="37" y="0"/>
                  </a:lnTo>
                  <a:lnTo>
                    <a:pt x="30" y="0"/>
                  </a:lnTo>
                  <a:lnTo>
                    <a:pt x="23" y="2"/>
                  </a:lnTo>
                  <a:lnTo>
                    <a:pt x="17" y="6"/>
                  </a:lnTo>
                  <a:lnTo>
                    <a:pt x="12" y="10"/>
                  </a:lnTo>
                  <a:lnTo>
                    <a:pt x="6" y="15"/>
                  </a:lnTo>
                  <a:lnTo>
                    <a:pt x="3" y="22"/>
                  </a:lnTo>
                  <a:lnTo>
                    <a:pt x="1" y="29"/>
                  </a:lnTo>
                  <a:lnTo>
                    <a:pt x="0" y="37"/>
                  </a:lnTo>
                  <a:lnTo>
                    <a:pt x="0" y="150"/>
                  </a:lnTo>
                  <a:lnTo>
                    <a:pt x="0" y="150"/>
                  </a:lnTo>
                  <a:lnTo>
                    <a:pt x="1" y="158"/>
                  </a:lnTo>
                  <a:lnTo>
                    <a:pt x="3" y="164"/>
                  </a:lnTo>
                  <a:lnTo>
                    <a:pt x="6" y="172"/>
                  </a:lnTo>
                  <a:lnTo>
                    <a:pt x="12" y="177"/>
                  </a:lnTo>
                  <a:lnTo>
                    <a:pt x="17" y="181"/>
                  </a:lnTo>
                  <a:lnTo>
                    <a:pt x="23" y="185"/>
                  </a:lnTo>
                  <a:lnTo>
                    <a:pt x="30" y="187"/>
                  </a:lnTo>
                  <a:lnTo>
                    <a:pt x="37" y="187"/>
                  </a:lnTo>
                  <a:lnTo>
                    <a:pt x="153" y="187"/>
                  </a:lnTo>
                  <a:lnTo>
                    <a:pt x="153" y="265"/>
                  </a:lnTo>
                  <a:lnTo>
                    <a:pt x="408" y="265"/>
                  </a:lnTo>
                  <a:lnTo>
                    <a:pt x="408" y="187"/>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sp>
          <p:nvSpPr>
            <p:cNvPr id="39" name="Freeform 40">
              <a:extLst>
                <a:ext uri="{FF2B5EF4-FFF2-40B4-BE49-F238E27FC236}">
                  <a16:creationId xmlns:a16="http://schemas.microsoft.com/office/drawing/2014/main" id="{54721960-976F-45F6-965D-5370A519E7EA}"/>
                </a:ext>
              </a:extLst>
            </p:cNvPr>
            <p:cNvSpPr>
              <a:spLocks noEditPoints="1"/>
            </p:cNvSpPr>
            <p:nvPr userDrawn="1"/>
          </p:nvSpPr>
          <p:spPr bwMode="auto">
            <a:xfrm>
              <a:off x="14466548" y="3895020"/>
              <a:ext cx="499020" cy="284240"/>
            </a:xfrm>
            <a:custGeom>
              <a:avLst/>
              <a:gdLst>
                <a:gd name="T0" fmla="*/ 1674 w 1868"/>
                <a:gd name="T1" fmla="*/ 147 h 1065"/>
                <a:gd name="T2" fmla="*/ 1651 w 1868"/>
                <a:gd name="T3" fmla="*/ 162 h 1065"/>
                <a:gd name="T4" fmla="*/ 1645 w 1868"/>
                <a:gd name="T5" fmla="*/ 312 h 1065"/>
                <a:gd name="T6" fmla="*/ 1546 w 1868"/>
                <a:gd name="T7" fmla="*/ 30 h 1065"/>
                <a:gd name="T8" fmla="*/ 1530 w 1868"/>
                <a:gd name="T9" fmla="*/ 7 h 1065"/>
                <a:gd name="T10" fmla="*/ 701 w 1868"/>
                <a:gd name="T11" fmla="*/ 0 h 1065"/>
                <a:gd name="T12" fmla="*/ 678 w 1868"/>
                <a:gd name="T13" fmla="*/ 8 h 1065"/>
                <a:gd name="T14" fmla="*/ 320 w 1868"/>
                <a:gd name="T15" fmla="*/ 210 h 1065"/>
                <a:gd name="T16" fmla="*/ 294 w 1868"/>
                <a:gd name="T17" fmla="*/ 221 h 1065"/>
                <a:gd name="T18" fmla="*/ 284 w 1868"/>
                <a:gd name="T19" fmla="*/ 247 h 1065"/>
                <a:gd name="T20" fmla="*/ 187 w 1868"/>
                <a:gd name="T21" fmla="*/ 288 h 1065"/>
                <a:gd name="T22" fmla="*/ 176 w 1868"/>
                <a:gd name="T23" fmla="*/ 262 h 1065"/>
                <a:gd name="T24" fmla="*/ 150 w 1868"/>
                <a:gd name="T25" fmla="*/ 252 h 1065"/>
                <a:gd name="T26" fmla="*/ 22 w 1868"/>
                <a:gd name="T27" fmla="*/ 254 h 1065"/>
                <a:gd name="T28" fmla="*/ 2 w 1868"/>
                <a:gd name="T29" fmla="*/ 273 h 1065"/>
                <a:gd name="T30" fmla="*/ 0 w 1868"/>
                <a:gd name="T31" fmla="*/ 776 h 1065"/>
                <a:gd name="T32" fmla="*/ 10 w 1868"/>
                <a:gd name="T33" fmla="*/ 802 h 1065"/>
                <a:gd name="T34" fmla="*/ 37 w 1868"/>
                <a:gd name="T35" fmla="*/ 814 h 1065"/>
                <a:gd name="T36" fmla="*/ 164 w 1868"/>
                <a:gd name="T37" fmla="*/ 810 h 1065"/>
                <a:gd name="T38" fmla="*/ 184 w 1868"/>
                <a:gd name="T39" fmla="*/ 791 h 1065"/>
                <a:gd name="T40" fmla="*/ 284 w 1868"/>
                <a:gd name="T41" fmla="*/ 660 h 1065"/>
                <a:gd name="T42" fmla="*/ 286 w 1868"/>
                <a:gd name="T43" fmla="*/ 832 h 1065"/>
                <a:gd name="T44" fmla="*/ 306 w 1868"/>
                <a:gd name="T45" fmla="*/ 852 h 1065"/>
                <a:gd name="T46" fmla="*/ 672 w 1868"/>
                <a:gd name="T47" fmla="*/ 1051 h 1065"/>
                <a:gd name="T48" fmla="*/ 693 w 1868"/>
                <a:gd name="T49" fmla="*/ 1064 h 1065"/>
                <a:gd name="T50" fmla="*/ 1262 w 1868"/>
                <a:gd name="T51" fmla="*/ 1064 h 1065"/>
                <a:gd name="T52" fmla="*/ 1537 w 1868"/>
                <a:gd name="T53" fmla="*/ 783 h 1065"/>
                <a:gd name="T54" fmla="*/ 1546 w 1868"/>
                <a:gd name="T55" fmla="*/ 764 h 1065"/>
                <a:gd name="T56" fmla="*/ 1645 w 1868"/>
                <a:gd name="T57" fmla="*/ 803 h 1065"/>
                <a:gd name="T58" fmla="*/ 1651 w 1868"/>
                <a:gd name="T59" fmla="*/ 825 h 1065"/>
                <a:gd name="T60" fmla="*/ 1674 w 1868"/>
                <a:gd name="T61" fmla="*/ 840 h 1065"/>
                <a:gd name="T62" fmla="*/ 1838 w 1868"/>
                <a:gd name="T63" fmla="*/ 840 h 1065"/>
                <a:gd name="T64" fmla="*/ 1862 w 1868"/>
                <a:gd name="T65" fmla="*/ 825 h 1065"/>
                <a:gd name="T66" fmla="*/ 1868 w 1868"/>
                <a:gd name="T67" fmla="*/ 183 h 1065"/>
                <a:gd name="T68" fmla="*/ 1862 w 1868"/>
                <a:gd name="T69" fmla="*/ 162 h 1065"/>
                <a:gd name="T70" fmla="*/ 1838 w 1868"/>
                <a:gd name="T71" fmla="*/ 147 h 1065"/>
                <a:gd name="T72" fmla="*/ 946 w 1868"/>
                <a:gd name="T73" fmla="*/ 611 h 1065"/>
                <a:gd name="T74" fmla="*/ 808 w 1868"/>
                <a:gd name="T75" fmla="*/ 609 h 1065"/>
                <a:gd name="T76" fmla="*/ 791 w 1868"/>
                <a:gd name="T77" fmla="*/ 599 h 1065"/>
                <a:gd name="T78" fmla="*/ 784 w 1868"/>
                <a:gd name="T79" fmla="*/ 579 h 1065"/>
                <a:gd name="T80" fmla="*/ 788 w 1868"/>
                <a:gd name="T81" fmla="*/ 561 h 1065"/>
                <a:gd name="T82" fmla="*/ 1121 w 1868"/>
                <a:gd name="T83" fmla="*/ 165 h 1065"/>
                <a:gd name="T84" fmla="*/ 1143 w 1868"/>
                <a:gd name="T85" fmla="*/ 158 h 1065"/>
                <a:gd name="T86" fmla="*/ 1166 w 1868"/>
                <a:gd name="T87" fmla="*/ 164 h 1065"/>
                <a:gd name="T88" fmla="*/ 1179 w 1868"/>
                <a:gd name="T89" fmla="*/ 182 h 1065"/>
                <a:gd name="T90" fmla="*/ 1087 w 1868"/>
                <a:gd name="T91" fmla="*/ 436 h 1065"/>
                <a:gd name="T92" fmla="*/ 1225 w 1868"/>
                <a:gd name="T93" fmla="*/ 438 h 1065"/>
                <a:gd name="T94" fmla="*/ 1241 w 1868"/>
                <a:gd name="T95" fmla="*/ 448 h 1065"/>
                <a:gd name="T96" fmla="*/ 1248 w 1868"/>
                <a:gd name="T97" fmla="*/ 474 h 1065"/>
                <a:gd name="T98" fmla="*/ 916 w 1868"/>
                <a:gd name="T99" fmla="*/ 878 h 1065"/>
                <a:gd name="T100" fmla="*/ 900 w 1868"/>
                <a:gd name="T101" fmla="*/ 889 h 1065"/>
                <a:gd name="T102" fmla="*/ 877 w 1868"/>
                <a:gd name="T103" fmla="*/ 890 h 1065"/>
                <a:gd name="T104" fmla="*/ 858 w 1868"/>
                <a:gd name="T105" fmla="*/ 876 h 1065"/>
                <a:gd name="T106" fmla="*/ 853 w 1868"/>
                <a:gd name="T107" fmla="*/ 854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8" h="1065">
                  <a:moveTo>
                    <a:pt x="1831" y="146"/>
                  </a:moveTo>
                  <a:lnTo>
                    <a:pt x="1682" y="146"/>
                  </a:lnTo>
                  <a:lnTo>
                    <a:pt x="1682" y="146"/>
                  </a:lnTo>
                  <a:lnTo>
                    <a:pt x="1674" y="147"/>
                  </a:lnTo>
                  <a:lnTo>
                    <a:pt x="1667" y="149"/>
                  </a:lnTo>
                  <a:lnTo>
                    <a:pt x="1661" y="152"/>
                  </a:lnTo>
                  <a:lnTo>
                    <a:pt x="1656" y="157"/>
                  </a:lnTo>
                  <a:lnTo>
                    <a:pt x="1651" y="162"/>
                  </a:lnTo>
                  <a:lnTo>
                    <a:pt x="1648" y="168"/>
                  </a:lnTo>
                  <a:lnTo>
                    <a:pt x="1646" y="175"/>
                  </a:lnTo>
                  <a:lnTo>
                    <a:pt x="1645" y="183"/>
                  </a:lnTo>
                  <a:lnTo>
                    <a:pt x="1645" y="312"/>
                  </a:lnTo>
                  <a:lnTo>
                    <a:pt x="1547" y="312"/>
                  </a:lnTo>
                  <a:lnTo>
                    <a:pt x="1547" y="37"/>
                  </a:lnTo>
                  <a:lnTo>
                    <a:pt x="1547" y="37"/>
                  </a:lnTo>
                  <a:lnTo>
                    <a:pt x="1546" y="30"/>
                  </a:lnTo>
                  <a:lnTo>
                    <a:pt x="1544" y="23"/>
                  </a:lnTo>
                  <a:lnTo>
                    <a:pt x="1541" y="17"/>
                  </a:lnTo>
                  <a:lnTo>
                    <a:pt x="1536" y="11"/>
                  </a:lnTo>
                  <a:lnTo>
                    <a:pt x="1530" y="7"/>
                  </a:lnTo>
                  <a:lnTo>
                    <a:pt x="1524" y="3"/>
                  </a:lnTo>
                  <a:lnTo>
                    <a:pt x="1517" y="1"/>
                  </a:lnTo>
                  <a:lnTo>
                    <a:pt x="1510" y="0"/>
                  </a:lnTo>
                  <a:lnTo>
                    <a:pt x="701" y="0"/>
                  </a:lnTo>
                  <a:lnTo>
                    <a:pt x="701" y="0"/>
                  </a:lnTo>
                  <a:lnTo>
                    <a:pt x="693" y="1"/>
                  </a:lnTo>
                  <a:lnTo>
                    <a:pt x="685" y="3"/>
                  </a:lnTo>
                  <a:lnTo>
                    <a:pt x="678" y="8"/>
                  </a:lnTo>
                  <a:lnTo>
                    <a:pt x="672" y="14"/>
                  </a:lnTo>
                  <a:lnTo>
                    <a:pt x="505" y="210"/>
                  </a:lnTo>
                  <a:lnTo>
                    <a:pt x="320" y="210"/>
                  </a:lnTo>
                  <a:lnTo>
                    <a:pt x="320" y="210"/>
                  </a:lnTo>
                  <a:lnTo>
                    <a:pt x="313" y="210"/>
                  </a:lnTo>
                  <a:lnTo>
                    <a:pt x="306" y="213"/>
                  </a:lnTo>
                  <a:lnTo>
                    <a:pt x="299" y="217"/>
                  </a:lnTo>
                  <a:lnTo>
                    <a:pt x="294" y="221"/>
                  </a:lnTo>
                  <a:lnTo>
                    <a:pt x="290" y="227"/>
                  </a:lnTo>
                  <a:lnTo>
                    <a:pt x="286" y="233"/>
                  </a:lnTo>
                  <a:lnTo>
                    <a:pt x="284" y="239"/>
                  </a:lnTo>
                  <a:lnTo>
                    <a:pt x="284" y="247"/>
                  </a:lnTo>
                  <a:lnTo>
                    <a:pt x="284" y="404"/>
                  </a:lnTo>
                  <a:lnTo>
                    <a:pt x="187" y="404"/>
                  </a:lnTo>
                  <a:lnTo>
                    <a:pt x="187" y="288"/>
                  </a:lnTo>
                  <a:lnTo>
                    <a:pt x="187" y="288"/>
                  </a:lnTo>
                  <a:lnTo>
                    <a:pt x="186" y="280"/>
                  </a:lnTo>
                  <a:lnTo>
                    <a:pt x="184" y="273"/>
                  </a:lnTo>
                  <a:lnTo>
                    <a:pt x="181" y="267"/>
                  </a:lnTo>
                  <a:lnTo>
                    <a:pt x="176" y="262"/>
                  </a:lnTo>
                  <a:lnTo>
                    <a:pt x="171" y="258"/>
                  </a:lnTo>
                  <a:lnTo>
                    <a:pt x="164" y="254"/>
                  </a:lnTo>
                  <a:lnTo>
                    <a:pt x="157" y="252"/>
                  </a:lnTo>
                  <a:lnTo>
                    <a:pt x="150" y="252"/>
                  </a:lnTo>
                  <a:lnTo>
                    <a:pt x="37" y="252"/>
                  </a:lnTo>
                  <a:lnTo>
                    <a:pt x="37" y="252"/>
                  </a:lnTo>
                  <a:lnTo>
                    <a:pt x="29" y="252"/>
                  </a:lnTo>
                  <a:lnTo>
                    <a:pt x="22" y="254"/>
                  </a:lnTo>
                  <a:lnTo>
                    <a:pt x="15" y="258"/>
                  </a:lnTo>
                  <a:lnTo>
                    <a:pt x="10" y="262"/>
                  </a:lnTo>
                  <a:lnTo>
                    <a:pt x="6" y="267"/>
                  </a:lnTo>
                  <a:lnTo>
                    <a:pt x="2" y="273"/>
                  </a:lnTo>
                  <a:lnTo>
                    <a:pt x="0" y="280"/>
                  </a:lnTo>
                  <a:lnTo>
                    <a:pt x="0" y="288"/>
                  </a:lnTo>
                  <a:lnTo>
                    <a:pt x="0" y="776"/>
                  </a:lnTo>
                  <a:lnTo>
                    <a:pt x="0" y="776"/>
                  </a:lnTo>
                  <a:lnTo>
                    <a:pt x="0" y="784"/>
                  </a:lnTo>
                  <a:lnTo>
                    <a:pt x="2" y="791"/>
                  </a:lnTo>
                  <a:lnTo>
                    <a:pt x="6" y="797"/>
                  </a:lnTo>
                  <a:lnTo>
                    <a:pt x="10" y="802"/>
                  </a:lnTo>
                  <a:lnTo>
                    <a:pt x="15" y="807"/>
                  </a:lnTo>
                  <a:lnTo>
                    <a:pt x="22" y="810"/>
                  </a:lnTo>
                  <a:lnTo>
                    <a:pt x="29" y="812"/>
                  </a:lnTo>
                  <a:lnTo>
                    <a:pt x="37" y="814"/>
                  </a:lnTo>
                  <a:lnTo>
                    <a:pt x="150" y="814"/>
                  </a:lnTo>
                  <a:lnTo>
                    <a:pt x="150" y="814"/>
                  </a:lnTo>
                  <a:lnTo>
                    <a:pt x="157" y="812"/>
                  </a:lnTo>
                  <a:lnTo>
                    <a:pt x="164" y="810"/>
                  </a:lnTo>
                  <a:lnTo>
                    <a:pt x="171" y="807"/>
                  </a:lnTo>
                  <a:lnTo>
                    <a:pt x="176" y="802"/>
                  </a:lnTo>
                  <a:lnTo>
                    <a:pt x="181" y="797"/>
                  </a:lnTo>
                  <a:lnTo>
                    <a:pt x="184" y="791"/>
                  </a:lnTo>
                  <a:lnTo>
                    <a:pt x="186" y="784"/>
                  </a:lnTo>
                  <a:lnTo>
                    <a:pt x="187" y="776"/>
                  </a:lnTo>
                  <a:lnTo>
                    <a:pt x="187" y="660"/>
                  </a:lnTo>
                  <a:lnTo>
                    <a:pt x="284" y="660"/>
                  </a:lnTo>
                  <a:lnTo>
                    <a:pt x="284" y="818"/>
                  </a:lnTo>
                  <a:lnTo>
                    <a:pt x="284" y="818"/>
                  </a:lnTo>
                  <a:lnTo>
                    <a:pt x="284" y="825"/>
                  </a:lnTo>
                  <a:lnTo>
                    <a:pt x="286" y="832"/>
                  </a:lnTo>
                  <a:lnTo>
                    <a:pt x="290" y="838"/>
                  </a:lnTo>
                  <a:lnTo>
                    <a:pt x="294" y="843"/>
                  </a:lnTo>
                  <a:lnTo>
                    <a:pt x="299" y="849"/>
                  </a:lnTo>
                  <a:lnTo>
                    <a:pt x="306" y="852"/>
                  </a:lnTo>
                  <a:lnTo>
                    <a:pt x="313" y="854"/>
                  </a:lnTo>
                  <a:lnTo>
                    <a:pt x="320" y="855"/>
                  </a:lnTo>
                  <a:lnTo>
                    <a:pt x="505" y="855"/>
                  </a:lnTo>
                  <a:lnTo>
                    <a:pt x="672" y="1051"/>
                  </a:lnTo>
                  <a:lnTo>
                    <a:pt x="672" y="1051"/>
                  </a:lnTo>
                  <a:lnTo>
                    <a:pt x="678" y="1056"/>
                  </a:lnTo>
                  <a:lnTo>
                    <a:pt x="685" y="1061"/>
                  </a:lnTo>
                  <a:lnTo>
                    <a:pt x="693" y="1064"/>
                  </a:lnTo>
                  <a:lnTo>
                    <a:pt x="701" y="1065"/>
                  </a:lnTo>
                  <a:lnTo>
                    <a:pt x="1255" y="1065"/>
                  </a:lnTo>
                  <a:lnTo>
                    <a:pt x="1255" y="1065"/>
                  </a:lnTo>
                  <a:lnTo>
                    <a:pt x="1262" y="1064"/>
                  </a:lnTo>
                  <a:lnTo>
                    <a:pt x="1269" y="1062"/>
                  </a:lnTo>
                  <a:lnTo>
                    <a:pt x="1275" y="1057"/>
                  </a:lnTo>
                  <a:lnTo>
                    <a:pt x="1281" y="1052"/>
                  </a:lnTo>
                  <a:lnTo>
                    <a:pt x="1537" y="783"/>
                  </a:lnTo>
                  <a:lnTo>
                    <a:pt x="1537" y="783"/>
                  </a:lnTo>
                  <a:lnTo>
                    <a:pt x="1541" y="776"/>
                  </a:lnTo>
                  <a:lnTo>
                    <a:pt x="1544" y="770"/>
                  </a:lnTo>
                  <a:lnTo>
                    <a:pt x="1546" y="764"/>
                  </a:lnTo>
                  <a:lnTo>
                    <a:pt x="1547" y="757"/>
                  </a:lnTo>
                  <a:lnTo>
                    <a:pt x="1547" y="675"/>
                  </a:lnTo>
                  <a:lnTo>
                    <a:pt x="1645" y="675"/>
                  </a:lnTo>
                  <a:lnTo>
                    <a:pt x="1645" y="803"/>
                  </a:lnTo>
                  <a:lnTo>
                    <a:pt x="1645" y="803"/>
                  </a:lnTo>
                  <a:lnTo>
                    <a:pt x="1646" y="811"/>
                  </a:lnTo>
                  <a:lnTo>
                    <a:pt x="1648" y="818"/>
                  </a:lnTo>
                  <a:lnTo>
                    <a:pt x="1651" y="825"/>
                  </a:lnTo>
                  <a:lnTo>
                    <a:pt x="1656" y="830"/>
                  </a:lnTo>
                  <a:lnTo>
                    <a:pt x="1661" y="834"/>
                  </a:lnTo>
                  <a:lnTo>
                    <a:pt x="1667" y="838"/>
                  </a:lnTo>
                  <a:lnTo>
                    <a:pt x="1674" y="840"/>
                  </a:lnTo>
                  <a:lnTo>
                    <a:pt x="1682" y="840"/>
                  </a:lnTo>
                  <a:lnTo>
                    <a:pt x="1831" y="840"/>
                  </a:lnTo>
                  <a:lnTo>
                    <a:pt x="1831" y="840"/>
                  </a:lnTo>
                  <a:lnTo>
                    <a:pt x="1838" y="840"/>
                  </a:lnTo>
                  <a:lnTo>
                    <a:pt x="1845" y="838"/>
                  </a:lnTo>
                  <a:lnTo>
                    <a:pt x="1852" y="834"/>
                  </a:lnTo>
                  <a:lnTo>
                    <a:pt x="1858" y="830"/>
                  </a:lnTo>
                  <a:lnTo>
                    <a:pt x="1862" y="825"/>
                  </a:lnTo>
                  <a:lnTo>
                    <a:pt x="1865" y="818"/>
                  </a:lnTo>
                  <a:lnTo>
                    <a:pt x="1867" y="811"/>
                  </a:lnTo>
                  <a:lnTo>
                    <a:pt x="1868" y="803"/>
                  </a:lnTo>
                  <a:lnTo>
                    <a:pt x="1868" y="183"/>
                  </a:lnTo>
                  <a:lnTo>
                    <a:pt x="1868" y="183"/>
                  </a:lnTo>
                  <a:lnTo>
                    <a:pt x="1867" y="175"/>
                  </a:lnTo>
                  <a:lnTo>
                    <a:pt x="1865" y="168"/>
                  </a:lnTo>
                  <a:lnTo>
                    <a:pt x="1862" y="162"/>
                  </a:lnTo>
                  <a:lnTo>
                    <a:pt x="1858" y="157"/>
                  </a:lnTo>
                  <a:lnTo>
                    <a:pt x="1852" y="152"/>
                  </a:lnTo>
                  <a:lnTo>
                    <a:pt x="1845" y="149"/>
                  </a:lnTo>
                  <a:lnTo>
                    <a:pt x="1838" y="147"/>
                  </a:lnTo>
                  <a:lnTo>
                    <a:pt x="1831" y="146"/>
                  </a:lnTo>
                  <a:lnTo>
                    <a:pt x="1831" y="146"/>
                  </a:lnTo>
                  <a:close/>
                  <a:moveTo>
                    <a:pt x="855" y="846"/>
                  </a:moveTo>
                  <a:lnTo>
                    <a:pt x="946" y="611"/>
                  </a:lnTo>
                  <a:lnTo>
                    <a:pt x="819" y="611"/>
                  </a:lnTo>
                  <a:lnTo>
                    <a:pt x="819" y="611"/>
                  </a:lnTo>
                  <a:lnTo>
                    <a:pt x="813" y="610"/>
                  </a:lnTo>
                  <a:lnTo>
                    <a:pt x="808" y="609"/>
                  </a:lnTo>
                  <a:lnTo>
                    <a:pt x="804" y="608"/>
                  </a:lnTo>
                  <a:lnTo>
                    <a:pt x="799" y="606"/>
                  </a:lnTo>
                  <a:lnTo>
                    <a:pt x="795" y="603"/>
                  </a:lnTo>
                  <a:lnTo>
                    <a:pt x="791" y="599"/>
                  </a:lnTo>
                  <a:lnTo>
                    <a:pt x="789" y="595"/>
                  </a:lnTo>
                  <a:lnTo>
                    <a:pt x="787" y="591"/>
                  </a:lnTo>
                  <a:lnTo>
                    <a:pt x="784" y="583"/>
                  </a:lnTo>
                  <a:lnTo>
                    <a:pt x="784" y="579"/>
                  </a:lnTo>
                  <a:lnTo>
                    <a:pt x="784" y="575"/>
                  </a:lnTo>
                  <a:lnTo>
                    <a:pt x="785" y="570"/>
                  </a:lnTo>
                  <a:lnTo>
                    <a:pt x="786" y="565"/>
                  </a:lnTo>
                  <a:lnTo>
                    <a:pt x="788" y="561"/>
                  </a:lnTo>
                  <a:lnTo>
                    <a:pt x="791" y="557"/>
                  </a:lnTo>
                  <a:lnTo>
                    <a:pt x="1117" y="169"/>
                  </a:lnTo>
                  <a:lnTo>
                    <a:pt x="1117" y="169"/>
                  </a:lnTo>
                  <a:lnTo>
                    <a:pt x="1121" y="165"/>
                  </a:lnTo>
                  <a:lnTo>
                    <a:pt x="1126" y="162"/>
                  </a:lnTo>
                  <a:lnTo>
                    <a:pt x="1132" y="160"/>
                  </a:lnTo>
                  <a:lnTo>
                    <a:pt x="1137" y="158"/>
                  </a:lnTo>
                  <a:lnTo>
                    <a:pt x="1143" y="158"/>
                  </a:lnTo>
                  <a:lnTo>
                    <a:pt x="1150" y="158"/>
                  </a:lnTo>
                  <a:lnTo>
                    <a:pt x="1155" y="159"/>
                  </a:lnTo>
                  <a:lnTo>
                    <a:pt x="1161" y="161"/>
                  </a:lnTo>
                  <a:lnTo>
                    <a:pt x="1166" y="164"/>
                  </a:lnTo>
                  <a:lnTo>
                    <a:pt x="1170" y="167"/>
                  </a:lnTo>
                  <a:lnTo>
                    <a:pt x="1174" y="171"/>
                  </a:lnTo>
                  <a:lnTo>
                    <a:pt x="1177" y="176"/>
                  </a:lnTo>
                  <a:lnTo>
                    <a:pt x="1179" y="182"/>
                  </a:lnTo>
                  <a:lnTo>
                    <a:pt x="1180" y="188"/>
                  </a:lnTo>
                  <a:lnTo>
                    <a:pt x="1179" y="194"/>
                  </a:lnTo>
                  <a:lnTo>
                    <a:pt x="1177" y="201"/>
                  </a:lnTo>
                  <a:lnTo>
                    <a:pt x="1087" y="436"/>
                  </a:lnTo>
                  <a:lnTo>
                    <a:pt x="1213" y="436"/>
                  </a:lnTo>
                  <a:lnTo>
                    <a:pt x="1213" y="436"/>
                  </a:lnTo>
                  <a:lnTo>
                    <a:pt x="1220" y="437"/>
                  </a:lnTo>
                  <a:lnTo>
                    <a:pt x="1225" y="438"/>
                  </a:lnTo>
                  <a:lnTo>
                    <a:pt x="1230" y="440"/>
                  </a:lnTo>
                  <a:lnTo>
                    <a:pt x="1234" y="442"/>
                  </a:lnTo>
                  <a:lnTo>
                    <a:pt x="1238" y="445"/>
                  </a:lnTo>
                  <a:lnTo>
                    <a:pt x="1241" y="448"/>
                  </a:lnTo>
                  <a:lnTo>
                    <a:pt x="1244" y="452"/>
                  </a:lnTo>
                  <a:lnTo>
                    <a:pt x="1246" y="456"/>
                  </a:lnTo>
                  <a:lnTo>
                    <a:pt x="1248" y="466"/>
                  </a:lnTo>
                  <a:lnTo>
                    <a:pt x="1248" y="474"/>
                  </a:lnTo>
                  <a:lnTo>
                    <a:pt x="1246" y="483"/>
                  </a:lnTo>
                  <a:lnTo>
                    <a:pt x="1244" y="487"/>
                  </a:lnTo>
                  <a:lnTo>
                    <a:pt x="1241" y="490"/>
                  </a:lnTo>
                  <a:lnTo>
                    <a:pt x="916" y="878"/>
                  </a:lnTo>
                  <a:lnTo>
                    <a:pt x="916" y="878"/>
                  </a:lnTo>
                  <a:lnTo>
                    <a:pt x="911" y="884"/>
                  </a:lnTo>
                  <a:lnTo>
                    <a:pt x="906" y="887"/>
                  </a:lnTo>
                  <a:lnTo>
                    <a:pt x="900" y="889"/>
                  </a:lnTo>
                  <a:lnTo>
                    <a:pt x="894" y="891"/>
                  </a:lnTo>
                  <a:lnTo>
                    <a:pt x="888" y="891"/>
                  </a:lnTo>
                  <a:lnTo>
                    <a:pt x="883" y="891"/>
                  </a:lnTo>
                  <a:lnTo>
                    <a:pt x="877" y="890"/>
                  </a:lnTo>
                  <a:lnTo>
                    <a:pt x="872" y="888"/>
                  </a:lnTo>
                  <a:lnTo>
                    <a:pt x="866" y="885"/>
                  </a:lnTo>
                  <a:lnTo>
                    <a:pt x="861" y="881"/>
                  </a:lnTo>
                  <a:lnTo>
                    <a:pt x="858" y="876"/>
                  </a:lnTo>
                  <a:lnTo>
                    <a:pt x="855" y="872"/>
                  </a:lnTo>
                  <a:lnTo>
                    <a:pt x="853" y="866"/>
                  </a:lnTo>
                  <a:lnTo>
                    <a:pt x="852" y="860"/>
                  </a:lnTo>
                  <a:lnTo>
                    <a:pt x="853" y="854"/>
                  </a:lnTo>
                  <a:lnTo>
                    <a:pt x="855" y="846"/>
                  </a:lnTo>
                  <a:lnTo>
                    <a:pt x="855" y="846"/>
                  </a:lnTo>
                  <a:close/>
                </a:path>
              </a:pathLst>
            </a:custGeom>
            <a:ln>
              <a:solidFill>
                <a:schemeClr val="bg1">
                  <a:lumMod val="65000"/>
                </a:schemeClr>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0" tIns="91440" rIns="91440" bIns="91440" numCol="1" spcCol="0" rtlCol="0" fromWordArt="0" anchor="ctr" anchorCtr="0" forceAA="0" compatLnSpc="1">
              <a:prstTxWarp prst="textNoShape">
                <a:avLst/>
              </a:prstTxWarp>
              <a:noAutofit/>
            </a:bodyPr>
            <a:lstStyle/>
            <a:p>
              <a:pPr lvl="0" defTabSz="914102" fontAlgn="base">
                <a:lnSpc>
                  <a:spcPct val="90000"/>
                </a:lnSpc>
                <a:spcBef>
                  <a:spcPct val="0"/>
                </a:spcBef>
                <a:spcAft>
                  <a:spcPct val="0"/>
                </a:spcAft>
              </a:pPr>
              <a:endParaRPr lang="en-US" sz="1372" spc="49">
                <a:solidFill>
                  <a:schemeClr val="bg1">
                    <a:lumMod val="65000"/>
                  </a:schemeClr>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30242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66800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5059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6"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83"/>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11434804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16">
          <p15:clr>
            <a:srgbClr val="C35EA4"/>
          </p15:clr>
        </p15:guide>
        <p15:guide id="2" pos="5659">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08584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EC4E2-4616-4421-9083-B03DA872470A}"/>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689ED69-18B5-4296-88A6-89F8816FEF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FFDEABD-DE0A-410F-A97A-32D7EBF9FC1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F1C5A7C5-EC4D-45B3-A2F0-FD1153ADB5B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281BA-F4C4-45D1-86E7-308F962A1B6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2EF401AC-9FCB-455B-923B-2077423CE26D}"/>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8" name="Footer Placeholder 7">
            <a:extLst>
              <a:ext uri="{FF2B5EF4-FFF2-40B4-BE49-F238E27FC236}">
                <a16:creationId xmlns:a16="http://schemas.microsoft.com/office/drawing/2014/main" id="{EB21F338-A32F-4F6E-BA7D-569311D18E3C}"/>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4C0D18DB-93EF-4D31-854F-699613CEEF9A}"/>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16205427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47"/>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12711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92950-50F3-48C2-ACD8-01CC8BB61F48}"/>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25B2E63-92CD-4046-B77B-913735AB7D01}"/>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4" name="Footer Placeholder 3">
            <a:extLst>
              <a:ext uri="{FF2B5EF4-FFF2-40B4-BE49-F238E27FC236}">
                <a16:creationId xmlns:a16="http://schemas.microsoft.com/office/drawing/2014/main" id="{C559A5F9-B8C0-4FFE-83D2-6B1B3795546B}"/>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5DF75CE6-C20F-47BA-A3C3-8FDAB825D5EE}"/>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31810083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C7FB71-8587-43C5-9496-A3B8EB8F732B}"/>
              </a:ext>
            </a:extLst>
          </p:cNvPr>
          <p:cNvSpPr>
            <a:spLocks noGrp="1"/>
          </p:cNvSpPr>
          <p:nvPr>
            <p:ph type="dt" sz="half" idx="10"/>
          </p:nvPr>
        </p:nvSpPr>
        <p:spPr/>
        <p:txBody>
          <a:bodyPr/>
          <a:lstStyle/>
          <a:p>
            <a:fld id="{F763D25D-CB5D-42EA-826F-EDB91399732B}" type="datetimeFigureOut">
              <a:rPr lang="en-IN" smtClean="0"/>
              <a:t>15-05-2025</a:t>
            </a:fld>
            <a:endParaRPr lang="en-IN"/>
          </a:p>
        </p:txBody>
      </p:sp>
      <p:sp>
        <p:nvSpPr>
          <p:cNvPr id="3" name="Footer Placeholder 2">
            <a:extLst>
              <a:ext uri="{FF2B5EF4-FFF2-40B4-BE49-F238E27FC236}">
                <a16:creationId xmlns:a16="http://schemas.microsoft.com/office/drawing/2014/main" id="{79ABBC40-3EDA-431A-9812-C1B6A83CEDDB}"/>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3252A05-5FEB-46BE-98C1-B1BBC3D37F49}"/>
              </a:ext>
            </a:extLst>
          </p:cNvPr>
          <p:cNvSpPr>
            <a:spLocks noGrp="1"/>
          </p:cNvSpPr>
          <p:nvPr>
            <p:ph type="sldNum" sz="quarter" idx="12"/>
          </p:nvPr>
        </p:nvSpPr>
        <p:spPr/>
        <p:txBody>
          <a:bodyPr/>
          <a:lstStyle/>
          <a:p>
            <a:fld id="{9115D9DD-F545-4B78-9493-05671133F23A}" type="slidenum">
              <a:rPr lang="en-IN" smtClean="0"/>
              <a:t>‹#›</a:t>
            </a:fld>
            <a:endParaRPr lang="en-IN"/>
          </a:p>
        </p:txBody>
      </p:sp>
    </p:spTree>
    <p:extLst>
      <p:ext uri="{BB962C8B-B14F-4D97-AF65-F5344CB8AC3E}">
        <p14:creationId xmlns:p14="http://schemas.microsoft.com/office/powerpoint/2010/main" val="32916605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image" Target="../media/image3.emf"/><Relationship Id="rId5" Type="http://schemas.openxmlformats.org/officeDocument/2006/relationships/slideLayout" Target="../slideLayouts/slideLayout19.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image" Target="../media/image4.png"/><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theme" Target="../theme/theme3.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69B7DB-8367-4EA5-BD31-DC3A1C807884}" type="datetimeFigureOut">
              <a:rPr lang="en-US" smtClean="0"/>
              <a:pPr/>
              <a:t>5/15/2025</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latin typeface="Segoe UI" pitchFamily="34" charset="0"/>
                <a:ea typeface="Segoe UI" pitchFamily="34" charset="0"/>
                <a:cs typeface="Segoe UI" pitchFamily="34" charset="0"/>
              </a:defRPr>
            </a:lvl1pPr>
          </a:lstStyle>
          <a:p>
            <a:fld id="{D814DA60-3BEE-4BCE-BEDB-E433FD970963}" type="slidenum">
              <a:rPr lang="en-US" smtClean="0"/>
              <a:pPr/>
              <a:t>‹#›</a:t>
            </a:fld>
            <a:endParaRPr lang="en-US" dirty="0"/>
          </a:p>
        </p:txBody>
      </p:sp>
    </p:spTree>
    <p:extLst>
      <p:ext uri="{BB962C8B-B14F-4D97-AF65-F5344CB8AC3E}">
        <p14:creationId xmlns:p14="http://schemas.microsoft.com/office/powerpoint/2010/main" val="3396079080"/>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D358B09-67D0-4B51-BD55-2C52FD5F32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8F5EE84-0A1E-4F53-B180-84606F86AE4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D5AEED6-9E8A-4F57-8638-7E8D9FF0715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63D25D-CB5D-42EA-826F-EDB91399732B}" type="datetimeFigureOut">
              <a:rPr lang="en-IN" smtClean="0"/>
              <a:t>15-05-2025</a:t>
            </a:fld>
            <a:endParaRPr lang="en-IN"/>
          </a:p>
        </p:txBody>
      </p:sp>
      <p:sp>
        <p:nvSpPr>
          <p:cNvPr id="5" name="Footer Placeholder 4">
            <a:extLst>
              <a:ext uri="{FF2B5EF4-FFF2-40B4-BE49-F238E27FC236}">
                <a16:creationId xmlns:a16="http://schemas.microsoft.com/office/drawing/2014/main" id="{E84DE57C-20C1-4762-904F-A13C34D61AD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648BD779-74FA-4405-AA8A-BA58CCC1FE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15D9DD-F545-4B78-9493-05671133F23A}" type="slidenum">
              <a:rPr lang="en-IN" smtClean="0"/>
              <a:t>‹#›</a:t>
            </a:fld>
            <a:endParaRPr lang="en-IN"/>
          </a:p>
        </p:txBody>
      </p:sp>
    </p:spTree>
    <p:extLst>
      <p:ext uri="{BB962C8B-B14F-4D97-AF65-F5344CB8AC3E}">
        <p14:creationId xmlns:p14="http://schemas.microsoft.com/office/powerpoint/2010/main" val="45971525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653239"/>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1559" y="1026355"/>
            <a:ext cx="11653521" cy="1825115"/>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58"/>
          <a:stretch>
            <a:fillRect/>
          </a:stretch>
        </p:blipFill>
        <p:spPr>
          <a:xfrm rot="5400000">
            <a:off x="9179301" y="3012080"/>
            <a:ext cx="6858623" cy="833218"/>
          </a:xfrm>
          <a:prstGeom prst="rect">
            <a:avLst/>
          </a:prstGeom>
        </p:spPr>
      </p:pic>
      <p:sp>
        <p:nvSpPr>
          <p:cNvPr id="6" name="Rectangle 5">
            <a:extLst>
              <a:ext uri="{FF2B5EF4-FFF2-40B4-BE49-F238E27FC236}">
                <a16:creationId xmlns:a16="http://schemas.microsoft.com/office/drawing/2014/main" id="{C4A34360-191F-4860-B482-FEF112359596}"/>
              </a:ext>
            </a:extLst>
          </p:cNvPr>
          <p:cNvSpPr/>
          <p:nvPr userDrawn="1"/>
        </p:nvSpPr>
        <p:spPr bwMode="auto">
          <a:xfrm>
            <a:off x="0" y="6574465"/>
            <a:ext cx="12184912" cy="283535"/>
          </a:xfrm>
          <a:prstGeom prst="rect">
            <a:avLst/>
          </a:prstGeom>
          <a:solidFill>
            <a:srgbClr val="0093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4">
            <a:extLst>
              <a:ext uri="{FF2B5EF4-FFF2-40B4-BE49-F238E27FC236}">
                <a16:creationId xmlns:a16="http://schemas.microsoft.com/office/drawing/2014/main" id="{3E0DE32A-014C-47F2-A6BA-0B2A787A2200}"/>
              </a:ext>
            </a:extLst>
          </p:cNvPr>
          <p:cNvSpPr txBox="1">
            <a:spLocks/>
          </p:cNvSpPr>
          <p:nvPr userDrawn="1"/>
        </p:nvSpPr>
        <p:spPr>
          <a:xfrm>
            <a:off x="10396451" y="6574465"/>
            <a:ext cx="1795548" cy="283535"/>
          </a:xfrm>
          <a:prstGeom prst="rect">
            <a:avLst/>
          </a:prstGeom>
          <a:noFill/>
        </p:spPr>
        <p:txBody>
          <a:bodyPr lIns="0" tIns="109728" rIns="164592" bIns="109728">
            <a:noAutofit/>
          </a:bodyPr>
          <a:lstStyle>
            <a:lvl1pPr marL="0" marR="0" indent="0" algn="r" defTabSz="896365"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chemeClr val="tx1"/>
                </a:soli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a:lstStyle>
          <a:p>
            <a:pPr algn="l"/>
            <a:r>
              <a:rPr lang="en-US" sz="1200" dirty="0">
                <a:solidFill>
                  <a:schemeClr val="bg2"/>
                </a:solidFill>
              </a:rPr>
              <a:t>© 007FFFLearning.com</a:t>
            </a:r>
          </a:p>
        </p:txBody>
      </p:sp>
      <p:pic>
        <p:nvPicPr>
          <p:cNvPr id="8" name="Picture 7">
            <a:extLst>
              <a:ext uri="{FF2B5EF4-FFF2-40B4-BE49-F238E27FC236}">
                <a16:creationId xmlns:a16="http://schemas.microsoft.com/office/drawing/2014/main" id="{B22DB0DD-DC0B-45C9-8C63-ABDC0EAF8FAC}"/>
              </a:ext>
            </a:extLst>
          </p:cNvPr>
          <p:cNvPicPr>
            <a:picLocks noChangeAspect="1"/>
          </p:cNvPicPr>
          <p:nvPr userDrawn="1"/>
        </p:nvPicPr>
        <p:blipFill>
          <a:blip r:embed="rId59">
            <a:extLst>
              <a:ext uri="{28A0092B-C50C-407E-A947-70E740481C1C}">
                <a14:useLocalDpi xmlns:a14="http://schemas.microsoft.com/office/drawing/2010/main" val="0"/>
              </a:ext>
            </a:extLst>
          </a:blip>
          <a:stretch>
            <a:fillRect/>
          </a:stretch>
        </p:blipFill>
        <p:spPr>
          <a:xfrm>
            <a:off x="11630730" y="0"/>
            <a:ext cx="554182" cy="783812"/>
          </a:xfrm>
          <a:prstGeom prst="rect">
            <a:avLst/>
          </a:prstGeom>
        </p:spPr>
      </p:pic>
    </p:spTree>
    <p:extLst>
      <p:ext uri="{BB962C8B-B14F-4D97-AF65-F5344CB8AC3E}">
        <p14:creationId xmlns:p14="http://schemas.microsoft.com/office/powerpoint/2010/main" val="373948748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09" r:id="rId32"/>
    <p:sldLayoutId id="2147483710" r:id="rId33"/>
    <p:sldLayoutId id="2147483711" r:id="rId34"/>
    <p:sldLayoutId id="2147483712" r:id="rId35"/>
    <p:sldLayoutId id="2147483713" r:id="rId36"/>
    <p:sldLayoutId id="2147483714" r:id="rId37"/>
    <p:sldLayoutId id="2147483715" r:id="rId38"/>
    <p:sldLayoutId id="2147483716" r:id="rId39"/>
    <p:sldLayoutId id="2147483717" r:id="rId40"/>
    <p:sldLayoutId id="2147483718" r:id="rId41"/>
    <p:sldLayoutId id="2147483719" r:id="rId42"/>
    <p:sldLayoutId id="2147483720" r:id="rId43"/>
    <p:sldLayoutId id="2147483721" r:id="rId44"/>
    <p:sldLayoutId id="2147483722" r:id="rId45"/>
    <p:sldLayoutId id="2147483723" r:id="rId46"/>
    <p:sldLayoutId id="2147483724" r:id="rId47"/>
    <p:sldLayoutId id="2147483725" r:id="rId48"/>
    <p:sldLayoutId id="2147483726" r:id="rId49"/>
    <p:sldLayoutId id="2147483727" r:id="rId50"/>
    <p:sldLayoutId id="2147483728" r:id="rId51"/>
    <p:sldLayoutId id="2147483729" r:id="rId52"/>
    <p:sldLayoutId id="2147483730" r:id="rId53"/>
    <p:sldLayoutId id="2147483731" r:id="rId54"/>
    <p:sldLayoutId id="2147483732" r:id="rId55"/>
    <p:sldLayoutId id="2147483733" r:id="rId56"/>
  </p:sldLayoutIdLst>
  <p:transition>
    <p:fade/>
  </p:transition>
  <p:hf sldNum="0" hdr="0" ftr="0" dt="0"/>
  <p:txStyles>
    <p:titleStyle>
      <a:lvl1pPr algn="l" defTabSz="896365" rtl="0" eaLnBrk="1" latinLnBrk="0" hangingPunct="1">
        <a:lnSpc>
          <a:spcPct val="90000"/>
        </a:lnSpc>
        <a:spcBef>
          <a:spcPct val="0"/>
        </a:spcBef>
        <a:buNone/>
        <a:defRPr lang="en-US" sz="3200"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4.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14.jp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4.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4.xml"/><Relationship Id="rId4" Type="http://schemas.openxmlformats.org/officeDocument/2006/relationships/image" Target="../media/image14.jpg"/></Relationships>
</file>

<file path=ppt/slides/_rels/slide1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2.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5.xml"/><Relationship Id="rId7" Type="http://schemas.openxmlformats.org/officeDocument/2006/relationships/diagramColors" Target="../diagrams/colors2.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xml"/><Relationship Id="rId1" Type="http://schemas.openxmlformats.org/officeDocument/2006/relationships/tags" Target="../tags/tag22.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tags" Target="../tags/tag23.xm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20.xml"/><Relationship Id="rId7" Type="http://schemas.openxmlformats.org/officeDocument/2006/relationships/diagramColors" Target="../diagrams/colors3.xml"/><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3.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21.xml"/><Relationship Id="rId7" Type="http://schemas.openxmlformats.org/officeDocument/2006/relationships/diagramColors" Target="../diagrams/colors4.xml"/><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tags" Target="../tags/tag2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27.xml"/></Relationships>
</file>

<file path=ppt/slides/_rels/slide26.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24.xml"/><Relationship Id="rId7" Type="http://schemas.openxmlformats.org/officeDocument/2006/relationships/diagramColors" Target="../diagrams/colors5.xml"/><Relationship Id="rId2" Type="http://schemas.openxmlformats.org/officeDocument/2006/relationships/slideLayout" Target="../slideLayouts/slideLayout8.xml"/><Relationship Id="rId1" Type="http://schemas.openxmlformats.org/officeDocument/2006/relationships/tags" Target="../tags/tag28.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2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3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14.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4.jp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4.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14.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14.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14.jp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descr="A view of a city street&#10;&#10;Description generated with very high confidence">
            <a:extLst>
              <a:ext uri="{FF2B5EF4-FFF2-40B4-BE49-F238E27FC236}">
                <a16:creationId xmlns:a16="http://schemas.microsoft.com/office/drawing/2014/main" id="{AE81A7C6-662A-44A2-811C-AEC4D5375871}"/>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20" y="10"/>
            <a:ext cx="12191980" cy="6857990"/>
          </a:xfrm>
          <a:prstGeom prst="rect">
            <a:avLst/>
          </a:prstGeom>
        </p:spPr>
      </p:pic>
      <p:sp>
        <p:nvSpPr>
          <p:cNvPr id="12" name="Freeform 5">
            <a:extLst>
              <a:ext uri="{FF2B5EF4-FFF2-40B4-BE49-F238E27FC236}">
                <a16:creationId xmlns:a16="http://schemas.microsoft.com/office/drawing/2014/main" id="{87CC2527-562A-4F69-B487-4371E5B243E7}"/>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p:spPr>
        <p:txBody>
          <a:bodyPr vert="horz" lIns="91440" tIns="45720" rIns="91440" bIns="45720" rtlCol="0" anchor="t">
            <a:normAutofit/>
          </a:bodyPr>
          <a:lstStyle/>
          <a:p>
            <a:pPr marL="0" marR="0" lvl="0" indent="0" algn="ctr" defTabSz="914400" rtl="0" eaLnBrk="1" fontAlgn="auto" latinLnBrk="0" hangingPunct="1">
              <a:lnSpc>
                <a:spcPct val="100000"/>
              </a:lnSpc>
              <a:spcBef>
                <a:spcPts val="0"/>
              </a:spcBef>
              <a:spcAft>
                <a:spcPts val="1000"/>
              </a:spcAft>
              <a:buClr>
                <a:prstClr val="black"/>
              </a:buClr>
              <a:buSzPct val="100000"/>
              <a:buFont typeface="Arial"/>
              <a:buNone/>
              <a:tabLst/>
              <a:defRPr/>
            </a:pPr>
            <a:endParaRPr kumimoji="0" lang="en-US" sz="1600" b="0" i="0" u="none" strike="noStrike" kern="1200" cap="all" spc="0" normalizeH="0" baseline="0" noProof="0">
              <a:ln>
                <a:noFill/>
              </a:ln>
              <a:solidFill>
                <a:prstClr val="black"/>
              </a:solidFill>
              <a:effectLst/>
              <a:uLnTx/>
              <a:uFillTx/>
              <a:latin typeface="Segoe UI"/>
              <a:ea typeface="+mn-ea"/>
              <a:cs typeface="+mn-cs"/>
            </a:endParaRPr>
          </a:p>
        </p:txBody>
      </p:sp>
      <p:cxnSp>
        <p:nvCxnSpPr>
          <p:cNvPr id="14" name="Straight Connector 13">
            <a:extLst>
              <a:ext uri="{FF2B5EF4-FFF2-40B4-BE49-F238E27FC236}">
                <a16:creationId xmlns:a16="http://schemas.microsoft.com/office/drawing/2014/main" id="{BCDAEC91-5BCE-4B55-9CC0-43EF94CB734B}"/>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CF4F8BF-80EF-4FC2-AA4C-606D13944463}"/>
              </a:ext>
            </a:extLst>
          </p:cNvPr>
          <p:cNvSpPr>
            <a:spLocks noGrp="1"/>
          </p:cNvSpPr>
          <p:nvPr>
            <p:ph type="title"/>
          </p:nvPr>
        </p:nvSpPr>
        <p:spPr>
          <a:xfrm>
            <a:off x="8022021" y="3231930"/>
            <a:ext cx="3852041" cy="3331429"/>
          </a:xfrm>
        </p:spPr>
        <p:txBody>
          <a:bodyPr vert="horz" lIns="91440" tIns="45720" rIns="91440" bIns="45720" rtlCol="0" anchor="b">
            <a:normAutofit/>
          </a:bodyPr>
          <a:lstStyle/>
          <a:p>
            <a:pPr algn="ctr"/>
            <a:r>
              <a:rPr lang="en-US" sz="3100" dirty="0">
                <a:solidFill>
                  <a:schemeClr val="tx1"/>
                </a:solidFill>
                <a:latin typeface="+mj-lt"/>
                <a:ea typeface="+mj-ea"/>
                <a:cs typeface="+mj-cs"/>
              </a:rPr>
              <a:t>Case Study Scenario: </a:t>
            </a:r>
            <a:r>
              <a:rPr lang="en-US" sz="3100" dirty="0" err="1">
                <a:solidFill>
                  <a:schemeClr val="tx1"/>
                </a:solidFill>
                <a:latin typeface="+mj-lt"/>
                <a:ea typeface="+mj-ea"/>
                <a:cs typeface="+mj-cs"/>
              </a:rPr>
              <a:t>FastCar</a:t>
            </a:r>
            <a:r>
              <a:rPr lang="en-US" sz="3100" dirty="0">
                <a:solidFill>
                  <a:schemeClr val="tx1"/>
                </a:solidFill>
                <a:latin typeface="+mj-lt"/>
                <a:ea typeface="+mj-ea"/>
                <a:cs typeface="+mj-cs"/>
              </a:rPr>
              <a:t> Racing Inc.</a:t>
            </a:r>
            <a:br>
              <a:rPr lang="en-BE" sz="3100" dirty="0">
                <a:solidFill>
                  <a:schemeClr val="tx1"/>
                </a:solidFill>
                <a:latin typeface="+mj-lt"/>
                <a:ea typeface="+mj-ea"/>
                <a:cs typeface="+mj-cs"/>
              </a:rPr>
            </a:br>
            <a:br>
              <a:rPr lang="en-BE" sz="3100" dirty="0">
                <a:solidFill>
                  <a:schemeClr val="tx1"/>
                </a:solidFill>
                <a:latin typeface="+mj-lt"/>
                <a:ea typeface="+mj-ea"/>
                <a:cs typeface="+mj-cs"/>
              </a:rPr>
            </a:br>
            <a:r>
              <a:rPr lang="en-BE" sz="3100" dirty="0">
                <a:solidFill>
                  <a:schemeClr val="tx1"/>
                </a:solidFill>
                <a:latin typeface="+mj-lt"/>
                <a:ea typeface="+mj-ea"/>
                <a:cs typeface="+mj-cs"/>
              </a:rPr>
              <a:t>aka.</a:t>
            </a:r>
            <a:r>
              <a:rPr lang="nl-BE" sz="3100" dirty="0">
                <a:solidFill>
                  <a:schemeClr val="tx1"/>
                </a:solidFill>
                <a:latin typeface="+mj-lt"/>
                <a:ea typeface="+mj-ea"/>
                <a:cs typeface="+mj-cs"/>
              </a:rPr>
              <a:t>m</a:t>
            </a:r>
            <a:r>
              <a:rPr lang="en-BE" sz="3100" dirty="0">
                <a:solidFill>
                  <a:schemeClr val="tx1"/>
                </a:solidFill>
                <a:latin typeface="+mj-lt"/>
                <a:ea typeface="+mj-ea"/>
                <a:cs typeface="+mj-cs"/>
              </a:rPr>
              <a:t>s/</a:t>
            </a:r>
            <a:r>
              <a:rPr lang="nl-BE" sz="3100" dirty="0">
                <a:solidFill>
                  <a:schemeClr val="tx1"/>
                </a:solidFill>
                <a:latin typeface="+mj-lt"/>
                <a:ea typeface="+mj-ea"/>
                <a:cs typeface="+mj-cs"/>
              </a:rPr>
              <a:t>F</a:t>
            </a:r>
            <a:r>
              <a:rPr lang="en-BE" sz="3100" dirty="0">
                <a:solidFill>
                  <a:schemeClr val="tx1"/>
                </a:solidFill>
                <a:latin typeface="+mj-lt"/>
                <a:ea typeface="+mj-ea"/>
                <a:cs typeface="+mj-cs"/>
              </a:rPr>
              <a:t>a</a:t>
            </a:r>
            <a:r>
              <a:rPr lang="nl-BE" sz="3100" dirty="0">
                <a:solidFill>
                  <a:schemeClr val="tx1"/>
                </a:solidFill>
                <a:latin typeface="+mj-lt"/>
                <a:ea typeface="+mj-ea"/>
                <a:cs typeface="+mj-cs"/>
              </a:rPr>
              <a:t>s</a:t>
            </a:r>
            <a:r>
              <a:rPr lang="en-BE" sz="3100" dirty="0">
                <a:solidFill>
                  <a:schemeClr val="tx1"/>
                </a:solidFill>
                <a:latin typeface="+mj-lt"/>
                <a:ea typeface="+mj-ea"/>
                <a:cs typeface="+mj-cs"/>
              </a:rPr>
              <a:t>t</a:t>
            </a:r>
            <a:r>
              <a:rPr lang="nl-BE" sz="3100" dirty="0">
                <a:solidFill>
                  <a:schemeClr val="tx1"/>
                </a:solidFill>
                <a:latin typeface="+mj-lt"/>
                <a:ea typeface="+mj-ea"/>
                <a:cs typeface="+mj-cs"/>
              </a:rPr>
              <a:t>C</a:t>
            </a:r>
            <a:r>
              <a:rPr lang="en-BE" sz="3100" dirty="0">
                <a:solidFill>
                  <a:schemeClr val="tx1"/>
                </a:solidFill>
                <a:latin typeface="+mj-lt"/>
                <a:ea typeface="+mj-ea"/>
                <a:cs typeface="+mj-cs"/>
              </a:rPr>
              <a:t>a</a:t>
            </a:r>
            <a:r>
              <a:rPr lang="nl-BE" sz="3100" dirty="0">
                <a:solidFill>
                  <a:schemeClr val="tx1"/>
                </a:solidFill>
                <a:latin typeface="+mj-lt"/>
                <a:ea typeface="+mj-ea"/>
                <a:cs typeface="+mj-cs"/>
              </a:rPr>
              <a:t>r</a:t>
            </a:r>
            <a:r>
              <a:rPr lang="en-BE" sz="3100" dirty="0">
                <a:solidFill>
                  <a:schemeClr val="tx1"/>
                </a:solidFill>
                <a:latin typeface="+mj-lt"/>
                <a:ea typeface="+mj-ea"/>
                <a:cs typeface="+mj-cs"/>
              </a:rPr>
              <a:t>C</a:t>
            </a:r>
            <a:r>
              <a:rPr lang="nl-BE" sz="3100" dirty="0">
                <a:solidFill>
                  <a:schemeClr val="tx1"/>
                </a:solidFill>
                <a:latin typeface="+mj-lt"/>
                <a:ea typeface="+mj-ea"/>
                <a:cs typeface="+mj-cs"/>
              </a:rPr>
              <a:t>a</a:t>
            </a:r>
            <a:r>
              <a:rPr lang="en-BE" sz="3100" dirty="0">
                <a:solidFill>
                  <a:schemeClr val="tx1"/>
                </a:solidFill>
                <a:latin typeface="+mj-lt"/>
                <a:ea typeface="+mj-ea"/>
                <a:cs typeface="+mj-cs"/>
              </a:rPr>
              <a:t>s</a:t>
            </a:r>
            <a:r>
              <a:rPr lang="nl-BE" sz="3100" dirty="0">
                <a:solidFill>
                  <a:schemeClr val="tx1"/>
                </a:solidFill>
                <a:latin typeface="+mj-lt"/>
                <a:ea typeface="+mj-ea"/>
                <a:cs typeface="+mj-cs"/>
              </a:rPr>
              <a:t>e</a:t>
            </a:r>
            <a:br>
              <a:rPr lang="en-BE" sz="3100" dirty="0">
                <a:solidFill>
                  <a:schemeClr val="tx1"/>
                </a:solidFill>
                <a:latin typeface="+mj-lt"/>
                <a:ea typeface="+mj-ea"/>
                <a:cs typeface="+mj-cs"/>
              </a:rPr>
            </a:br>
            <a:endParaRPr lang="en-US" sz="3100" dirty="0">
              <a:solidFill>
                <a:schemeClr val="tx1"/>
              </a:solidFill>
              <a:latin typeface="+mj-lt"/>
              <a:ea typeface="+mj-ea"/>
              <a:cs typeface="+mj-cs"/>
            </a:endParaRPr>
          </a:p>
        </p:txBody>
      </p:sp>
    </p:spTree>
    <p:custDataLst>
      <p:tags r:id="rId1"/>
    </p:custDataLst>
    <p:extLst>
      <p:ext uri="{BB962C8B-B14F-4D97-AF65-F5344CB8AC3E}">
        <p14:creationId xmlns:p14="http://schemas.microsoft.com/office/powerpoint/2010/main" val="2833900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b="1" dirty="0"/>
              <a:t>Technical Requirements:</a:t>
            </a:r>
          </a:p>
          <a:p>
            <a:pPr>
              <a:buFontTx/>
              <a:buChar char="-"/>
            </a:pPr>
            <a:r>
              <a:rPr lang="en-US" dirty="0"/>
              <a:t>IT is currently operational 24/7, using an 8h business day concept across 3 different continents. At present, all sysadmins have access to all IT server assets, no matter where they are running. This has often led to unforeseen downtime of systems, or having seen changes been pushed to production, without always being able to detect who made those changes. This should be optimized and be more controlled in who can deploy what</a:t>
            </a:r>
            <a:endParaRPr lang="en-BE" dirty="0"/>
          </a:p>
          <a:p>
            <a:pPr>
              <a:buFontTx/>
              <a:buChar char="-"/>
            </a:pPr>
            <a:r>
              <a:rPr lang="en-BE" dirty="0"/>
              <a:t>Having an affordable dev/testing environment would be beneficial</a:t>
            </a:r>
            <a:endParaRPr lang="en-US" dirty="0"/>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095FAFE3-CE19-425A-826A-0FA6F459ED6C}"/>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1439283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b="1" dirty="0"/>
              <a:t>Technical Requirements:</a:t>
            </a:r>
          </a:p>
          <a:p>
            <a:pPr>
              <a:buFontTx/>
              <a:buChar char="-"/>
            </a:pPr>
            <a:r>
              <a:rPr lang="en-US" dirty="0"/>
              <a:t>An end-to-end operations tooling and monitoring should be put in place. First of all allowing for a real-time view on current IT workloads, uptime and alerting for Azure-running resources, but later on also supporting on-premises running systems and applications into this logging solution</a:t>
            </a:r>
            <a:endParaRPr lang="en-BE" dirty="0"/>
          </a:p>
          <a:p>
            <a:pPr>
              <a:buFontTx/>
              <a:buChar char="-"/>
            </a:pPr>
            <a:r>
              <a:rPr lang="en-BE" dirty="0"/>
              <a:t>We lack detailed monitoring of our application landscape, and mainly “find out” afterwards or during outage what went wrong</a:t>
            </a:r>
          </a:p>
          <a:p>
            <a:pPr>
              <a:buFontTx/>
              <a:buChar char="-"/>
            </a:pPr>
            <a:r>
              <a:rPr lang="en-BE" dirty="0"/>
              <a:t>We don’t have a solution allowing for load-testing</a:t>
            </a:r>
            <a:endParaRPr lang="en-US" dirty="0"/>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095FAFE3-CE19-425A-826A-0FA6F459ED6C}"/>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35029476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b="1" dirty="0"/>
              <a:t>Technical Requirements:</a:t>
            </a:r>
          </a:p>
          <a:p>
            <a:pPr>
              <a:buFontTx/>
              <a:buChar char="-"/>
            </a:pPr>
            <a:r>
              <a:rPr lang="en-US" dirty="0" err="1"/>
              <a:t>FastCar</a:t>
            </a:r>
            <a:r>
              <a:rPr lang="en-US" dirty="0"/>
              <a:t> Racing Inc. started a migration to Office 365 about 8 months ago. They are convinced public cloud is the way forward. Any new workload should allow for an integration with Office 365 components, whether from a technical perspective or security standpoint. About 20% of all employees have already been migrated to Office 365 (Email, Skype and SharePoint)</a:t>
            </a:r>
          </a:p>
          <a:p>
            <a:pPr>
              <a:buFontTx/>
              <a:buChar char="-"/>
            </a:pPr>
            <a:r>
              <a:rPr lang="en-US" dirty="0" err="1"/>
              <a:t>FastCar</a:t>
            </a:r>
            <a:r>
              <a:rPr lang="en-US" dirty="0"/>
              <a:t> Racing Inc. relies on off-site tape backups for now. You need to work on a solution allowing for a similar cross-premises data storage, data retrieval and data archiving system.</a:t>
            </a:r>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26CC9820-A1ED-4C5C-8589-F34FD605E960}"/>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3502627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E95D989-81FA-4BAD-9AD5-E46CEDA91B3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3"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156189E5-8A3E-4CFD-B71B-CCD0F8495E5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3" y="0"/>
            <a:ext cx="142074"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D0645DEB-B1D6-43F7-8114-23526A5C6054}"/>
              </a:ext>
            </a:extLst>
          </p:cNvPr>
          <p:cNvSpPr>
            <a:spLocks noGrp="1"/>
          </p:cNvSpPr>
          <p:nvPr>
            <p:ph type="title"/>
          </p:nvPr>
        </p:nvSpPr>
        <p:spPr>
          <a:xfrm>
            <a:off x="838200" y="811161"/>
            <a:ext cx="3335594" cy="5403370"/>
          </a:xfrm>
        </p:spPr>
        <p:txBody>
          <a:bodyPr vert="horz" lIns="91440" tIns="45720" rIns="91440" bIns="45720" rtlCol="0" anchor="ctr">
            <a:normAutofit/>
          </a:bodyPr>
          <a:lstStyle/>
          <a:p>
            <a:r>
              <a:rPr lang="en-US" kern="1200">
                <a:solidFill>
                  <a:schemeClr val="bg1"/>
                </a:solidFill>
                <a:latin typeface="Segoe UI" panose="020B0502040204020203" pitchFamily="34" charset="0"/>
                <a:cs typeface="Segoe UI" panose="020B0502040204020203" pitchFamily="34" charset="0"/>
              </a:rPr>
              <a:t>Customer Needs</a:t>
            </a:r>
          </a:p>
        </p:txBody>
      </p:sp>
      <p:graphicFrame>
        <p:nvGraphicFramePr>
          <p:cNvPr id="6" name="Content Placeholder 2">
            <a:extLst>
              <a:ext uri="{FF2B5EF4-FFF2-40B4-BE49-F238E27FC236}">
                <a16:creationId xmlns:a16="http://schemas.microsoft.com/office/drawing/2014/main" id="{60C0C91E-F04A-4EE2-AA00-A5DB2210DDF9}"/>
              </a:ext>
            </a:extLst>
          </p:cNvPr>
          <p:cNvGraphicFramePr/>
          <p:nvPr>
            <p:extLst>
              <p:ext uri="{D42A27DB-BD31-4B8C-83A1-F6EECF244321}">
                <p14:modId xmlns:p14="http://schemas.microsoft.com/office/powerpoint/2010/main" val="3762760583"/>
              </p:ext>
            </p:extLst>
          </p:nvPr>
        </p:nvGraphicFramePr>
        <p:xfrm>
          <a:off x="5459413" y="642938"/>
          <a:ext cx="6089650" cy="55721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121280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B336162-B533-4EFE-8BB3-8EBB4A5E32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314384" cy="685800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2EC99634-DC35-4059-8E30-21039EF40C36}"/>
              </a:ext>
            </a:extLst>
          </p:cNvPr>
          <p:cNvSpPr>
            <a:spLocks noGrp="1"/>
          </p:cNvSpPr>
          <p:nvPr>
            <p:ph type="title"/>
          </p:nvPr>
        </p:nvSpPr>
        <p:spPr>
          <a:xfrm>
            <a:off x="829781" y="2745736"/>
            <a:ext cx="3698803" cy="1366528"/>
          </a:xfrm>
          <a:solidFill>
            <a:srgbClr val="FFFFFF"/>
          </a:solidFill>
          <a:ln w="25400" cap="sq">
            <a:solidFill>
              <a:srgbClr val="404040"/>
            </a:solidFill>
            <a:miter lim="800000"/>
          </a:ln>
        </p:spPr>
        <p:txBody>
          <a:bodyPr vert="horz" lIns="91440" tIns="45720" rIns="91440" bIns="45720" rtlCol="0" anchor="ctr">
            <a:normAutofit/>
          </a:bodyPr>
          <a:lstStyle/>
          <a:p>
            <a:pPr algn="ctr"/>
            <a:r>
              <a:rPr lang="en-US" sz="3200" kern="1200">
                <a:solidFill>
                  <a:srgbClr val="262626"/>
                </a:solidFill>
                <a:latin typeface="Segoe UI" panose="020B0502040204020203" pitchFamily="34" charset="0"/>
                <a:cs typeface="Segoe UI" panose="020B0502040204020203" pitchFamily="34" charset="0"/>
              </a:rPr>
              <a:t>Customer Objections</a:t>
            </a:r>
          </a:p>
        </p:txBody>
      </p:sp>
      <p:sp>
        <p:nvSpPr>
          <p:cNvPr id="4" name="Content Placeholder 2">
            <a:extLst>
              <a:ext uri="{FF2B5EF4-FFF2-40B4-BE49-F238E27FC236}">
                <a16:creationId xmlns:a16="http://schemas.microsoft.com/office/drawing/2014/main" id="{DD7BF4F5-7A3E-4288-84DA-430641FBE0A7}"/>
              </a:ext>
            </a:extLst>
          </p:cNvPr>
          <p:cNvSpPr txBox="1">
            <a:spLocks/>
          </p:cNvSpPr>
          <p:nvPr/>
        </p:nvSpPr>
        <p:spPr>
          <a:xfrm>
            <a:off x="6049182" y="802638"/>
            <a:ext cx="5408696" cy="5252722"/>
          </a:xfrm>
          <a:prstGeom prst="rect">
            <a:avLst/>
          </a:prstGeom>
        </p:spPr>
        <p:txBody>
          <a:bodyPr vert="horz" lIns="91440" tIns="45720" rIns="91440" bIns="45720" rtlCol="0" anchor="ctr">
            <a:norm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228600" fontAlgn="base">
              <a:lnSpc>
                <a:spcPct val="90000"/>
              </a:lnSpc>
              <a:spcBef>
                <a:spcPts val="600"/>
              </a:spcBef>
              <a:spcAft>
                <a:spcPct val="0"/>
              </a:spcAft>
              <a:buClr>
                <a:srgbClr val="0070C0"/>
              </a:buClr>
              <a:buSzPct val="90000"/>
              <a:tabLst/>
              <a:defRPr/>
            </a:pPr>
            <a:r>
              <a:rPr kumimoji="0" lang="en-US" sz="2200" b="0" i="0" u="none" strike="noStrike" cap="none" spc="0" normalizeH="0" baseline="0" noProof="0" dirty="0">
                <a:ln>
                  <a:noFill/>
                </a:ln>
                <a:effectLst/>
                <a:uLnTx/>
                <a:uFillTx/>
                <a:ea typeface="+mn-ea"/>
              </a:rPr>
              <a:t>Scale &amp; Performance:</a:t>
            </a:r>
          </a:p>
          <a:p>
            <a:pPr marL="458788" marR="0" lvl="1" indent="-228600" fontAlgn="base">
              <a:lnSpc>
                <a:spcPct val="90000"/>
              </a:lnSpc>
              <a:spcBef>
                <a:spcPts val="600"/>
              </a:spcBef>
              <a:spcAft>
                <a:spcPct val="0"/>
              </a:spcAft>
              <a:buClr>
                <a:srgbClr val="0070C0"/>
              </a:buClr>
              <a:buSzPct val="80000"/>
              <a:tabLst/>
              <a:defRPr/>
            </a:pPr>
            <a:r>
              <a:rPr kumimoji="0" lang="en-US" sz="2200" b="0" i="1" u="none" strike="noStrike" cap="none" spc="0" normalizeH="0" baseline="0" noProof="0" dirty="0">
                <a:ln>
                  <a:noFill/>
                </a:ln>
                <a:effectLst/>
                <a:uLnTx/>
                <a:uFillTx/>
                <a:ea typeface="+mn-ea"/>
              </a:rPr>
              <a:t>I do not want to have to make code changes (or redevelop) in order to change the scale of a website</a:t>
            </a:r>
          </a:p>
          <a:p>
            <a:pPr marL="458788" marR="0" lvl="1" indent="-228600" fontAlgn="base">
              <a:lnSpc>
                <a:spcPct val="90000"/>
              </a:lnSpc>
              <a:spcBef>
                <a:spcPts val="600"/>
              </a:spcBef>
              <a:spcAft>
                <a:spcPct val="0"/>
              </a:spcAft>
              <a:buClr>
                <a:srgbClr val="0070C0"/>
              </a:buClr>
              <a:buSzPct val="80000"/>
              <a:tabLst/>
              <a:defRPr/>
            </a:pPr>
            <a:r>
              <a:rPr kumimoji="0" lang="en-US" sz="2200" b="0" i="1" u="none" strike="noStrike" cap="none" spc="0" normalizeH="0" baseline="0" noProof="0" dirty="0">
                <a:ln>
                  <a:noFill/>
                </a:ln>
                <a:effectLst/>
                <a:uLnTx/>
                <a:uFillTx/>
                <a:ea typeface="+mn-ea"/>
              </a:rPr>
              <a:t>I hear Azure Web Sites is only useful for websites with small amounts of traffic; will it really support the heavy traffic we receive?</a:t>
            </a:r>
          </a:p>
          <a:p>
            <a:pPr marL="458788" marR="0" lvl="1" indent="-228600" fontAlgn="base">
              <a:lnSpc>
                <a:spcPct val="90000"/>
              </a:lnSpc>
              <a:spcBef>
                <a:spcPts val="600"/>
              </a:spcBef>
              <a:spcAft>
                <a:spcPct val="0"/>
              </a:spcAft>
              <a:buClr>
                <a:srgbClr val="0070C0"/>
              </a:buClr>
              <a:buSzPct val="80000"/>
              <a:tabLst/>
              <a:defRPr/>
            </a:pPr>
            <a:r>
              <a:rPr kumimoji="0" lang="en-US" sz="2200" b="0" i="1" u="none" strike="noStrike" cap="none" spc="0" normalizeH="0" baseline="0" noProof="0" dirty="0">
                <a:ln>
                  <a:noFill/>
                </a:ln>
                <a:effectLst/>
                <a:uLnTx/>
                <a:uFillTx/>
                <a:ea typeface="+mn-ea"/>
              </a:rPr>
              <a:t>We would prefer to avoid performing a database migration (e.g., to another server) in order to scale the throughput of our database</a:t>
            </a:r>
          </a:p>
          <a:p>
            <a:pPr marL="458788" marR="0" lvl="1" indent="-228600" fontAlgn="base">
              <a:lnSpc>
                <a:spcPct val="90000"/>
              </a:lnSpc>
              <a:spcBef>
                <a:spcPts val="600"/>
              </a:spcBef>
              <a:spcAft>
                <a:spcPct val="0"/>
              </a:spcAft>
              <a:buClr>
                <a:srgbClr val="0070C0"/>
              </a:buClr>
              <a:buSzPct val="80000"/>
              <a:tabLst/>
              <a:defRPr/>
            </a:pPr>
            <a:r>
              <a:rPr kumimoji="0" lang="en-US" sz="2200" b="0" i="1" u="none" strike="noStrike" cap="none" spc="0" normalizeH="0" baseline="0" noProof="0" dirty="0">
                <a:ln>
                  <a:noFill/>
                </a:ln>
                <a:effectLst/>
                <a:uLnTx/>
                <a:uFillTx/>
                <a:ea typeface="+mn-ea"/>
              </a:rPr>
              <a:t>We have heard SQL Database does not provide consistent performance, is this true?</a:t>
            </a:r>
          </a:p>
        </p:txBody>
      </p:sp>
    </p:spTree>
    <p:custDataLst>
      <p:tags r:id="rId1"/>
    </p:custDataLst>
    <p:extLst>
      <p:ext uri="{BB962C8B-B14F-4D97-AF65-F5344CB8AC3E}">
        <p14:creationId xmlns:p14="http://schemas.microsoft.com/office/powerpoint/2010/main" val="3756594650"/>
      </p:ext>
    </p:extLst>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B336162-B533-4EFE-8BB3-8EBB4A5E32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314384" cy="685800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8742F1D5-6194-47C5-B943-C0F15320148A}"/>
              </a:ext>
            </a:extLst>
          </p:cNvPr>
          <p:cNvSpPr>
            <a:spLocks noGrp="1"/>
          </p:cNvSpPr>
          <p:nvPr>
            <p:ph type="title"/>
          </p:nvPr>
        </p:nvSpPr>
        <p:spPr>
          <a:xfrm>
            <a:off x="829781" y="2745736"/>
            <a:ext cx="3698803" cy="1366528"/>
          </a:xfrm>
          <a:solidFill>
            <a:srgbClr val="FFFFFF"/>
          </a:solidFill>
          <a:ln w="25400" cap="sq">
            <a:solidFill>
              <a:srgbClr val="404040"/>
            </a:solidFill>
            <a:miter lim="800000"/>
          </a:ln>
        </p:spPr>
        <p:txBody>
          <a:bodyPr vert="horz" lIns="91440" tIns="45720" rIns="91440" bIns="45720" rtlCol="0" anchor="ctr">
            <a:normAutofit/>
          </a:bodyPr>
          <a:lstStyle/>
          <a:p>
            <a:pPr algn="ctr"/>
            <a:r>
              <a:rPr lang="en-US" sz="3200" kern="1200">
                <a:solidFill>
                  <a:srgbClr val="262626"/>
                </a:solidFill>
                <a:latin typeface="Segoe UI" panose="020B0502040204020203" pitchFamily="34" charset="0"/>
                <a:cs typeface="Segoe UI" panose="020B0502040204020203" pitchFamily="34" charset="0"/>
              </a:rPr>
              <a:t>Customer Objections</a:t>
            </a:r>
          </a:p>
        </p:txBody>
      </p:sp>
      <p:sp>
        <p:nvSpPr>
          <p:cNvPr id="4" name="Content Placeholder 2">
            <a:extLst>
              <a:ext uri="{FF2B5EF4-FFF2-40B4-BE49-F238E27FC236}">
                <a16:creationId xmlns:a16="http://schemas.microsoft.com/office/drawing/2014/main" id="{255B6316-225A-4E6A-8E26-1F56EFFD8C42}"/>
              </a:ext>
            </a:extLst>
          </p:cNvPr>
          <p:cNvSpPr txBox="1">
            <a:spLocks/>
          </p:cNvSpPr>
          <p:nvPr/>
        </p:nvSpPr>
        <p:spPr>
          <a:xfrm>
            <a:off x="6049182" y="802638"/>
            <a:ext cx="5408696" cy="5252722"/>
          </a:xfrm>
          <a:prstGeom prst="rect">
            <a:avLst/>
          </a:prstGeom>
        </p:spPr>
        <p:txBody>
          <a:bodyPr vert="horz" lIns="91440" tIns="45720" rIns="91440" bIns="45720" rtlCol="0" anchor="ctr">
            <a:norm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228600" fontAlgn="base">
              <a:lnSpc>
                <a:spcPct val="90000"/>
              </a:lnSpc>
              <a:spcBef>
                <a:spcPts val="600"/>
              </a:spcBef>
              <a:spcAft>
                <a:spcPct val="0"/>
              </a:spcAft>
              <a:buClr>
                <a:srgbClr val="0070C0"/>
              </a:buClr>
              <a:buSzPct val="90000"/>
              <a:tabLst/>
              <a:defRPr/>
            </a:pPr>
            <a:r>
              <a:rPr kumimoji="0" lang="en-US" sz="2400" b="0" i="0" u="none" strike="noStrike" cap="none" spc="0" normalizeH="0" baseline="0" noProof="0" dirty="0">
                <a:ln>
                  <a:noFill/>
                </a:ln>
                <a:effectLst/>
                <a:uLnTx/>
                <a:uFillTx/>
                <a:ea typeface="+mn-ea"/>
              </a:rPr>
              <a:t>Business Continuity:</a:t>
            </a:r>
          </a:p>
          <a:p>
            <a:pPr marL="458788" marR="0" lvl="1" indent="-228600" fontAlgn="base">
              <a:lnSpc>
                <a:spcPct val="90000"/>
              </a:lnSpc>
              <a:spcBef>
                <a:spcPts val="600"/>
              </a:spcBef>
              <a:spcAft>
                <a:spcPct val="0"/>
              </a:spcAft>
              <a:buClr>
                <a:srgbClr val="0070C0"/>
              </a:buClr>
              <a:buSzPct val="80000"/>
              <a:tabLst/>
              <a:defRPr/>
            </a:pPr>
            <a:r>
              <a:rPr kumimoji="0" lang="en-US" b="0" i="1" u="none" strike="noStrike" cap="none" spc="0" normalizeH="0" baseline="0" noProof="0" dirty="0">
                <a:ln>
                  <a:noFill/>
                </a:ln>
                <a:effectLst/>
                <a:uLnTx/>
                <a:uFillTx/>
                <a:ea typeface="+mn-ea"/>
              </a:rPr>
              <a:t>How can we be certain our data will survive in the event of a catastrophe in a certain part of the world?</a:t>
            </a:r>
          </a:p>
          <a:p>
            <a:pPr marL="458788" marR="0" lvl="1" indent="-228600" fontAlgn="base">
              <a:lnSpc>
                <a:spcPct val="90000"/>
              </a:lnSpc>
              <a:spcBef>
                <a:spcPts val="600"/>
              </a:spcBef>
              <a:spcAft>
                <a:spcPct val="0"/>
              </a:spcAft>
              <a:buClr>
                <a:srgbClr val="0070C0"/>
              </a:buClr>
              <a:buSzPct val="80000"/>
              <a:tabLst/>
              <a:defRPr/>
            </a:pPr>
            <a:r>
              <a:rPr kumimoji="0" lang="en-US" b="0" i="1" u="none" strike="noStrike" cap="none" spc="0" normalizeH="0" baseline="0" noProof="0" dirty="0">
                <a:ln>
                  <a:noFill/>
                </a:ln>
                <a:effectLst/>
                <a:uLnTx/>
                <a:uFillTx/>
                <a:ea typeface="+mn-ea"/>
              </a:rPr>
              <a:t>We need to be able to recover from mistakes made by administrators that accidentally delete production data (we know they happen, we would love an “undo”)</a:t>
            </a:r>
          </a:p>
          <a:p>
            <a:pPr marL="458788" marR="0" lvl="1" indent="-228600" fontAlgn="base">
              <a:lnSpc>
                <a:spcPct val="90000"/>
              </a:lnSpc>
              <a:spcBef>
                <a:spcPts val="600"/>
              </a:spcBef>
              <a:spcAft>
                <a:spcPct val="0"/>
              </a:spcAft>
              <a:buClr>
                <a:srgbClr val="0070C0"/>
              </a:buClr>
              <a:buSzPct val="80000"/>
              <a:tabLst/>
              <a:defRPr/>
            </a:pPr>
            <a:r>
              <a:rPr kumimoji="0" lang="en-US" b="0" i="1" u="none" strike="noStrike" cap="none" spc="0" normalizeH="0" baseline="0" noProof="0" dirty="0">
                <a:ln>
                  <a:noFill/>
                </a:ln>
                <a:effectLst/>
                <a:uLnTx/>
                <a:uFillTx/>
                <a:ea typeface="+mn-ea"/>
              </a:rPr>
              <a:t>Do we need to have multiple web server instances for each property to have a high SLA?</a:t>
            </a:r>
          </a:p>
        </p:txBody>
      </p:sp>
    </p:spTree>
    <p:custDataLst>
      <p:tags r:id="rId1"/>
    </p:custDataLst>
    <p:extLst>
      <p:ext uri="{BB962C8B-B14F-4D97-AF65-F5344CB8AC3E}">
        <p14:creationId xmlns:p14="http://schemas.microsoft.com/office/powerpoint/2010/main" val="1061180323"/>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E95D989-81FA-4BAD-9AD5-E46CEDA91B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3"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9DA463FE-56C7-4E2D-834B-DC217FC853D1}"/>
              </a:ext>
            </a:extLst>
          </p:cNvPr>
          <p:cNvSpPr>
            <a:spLocks noGrp="1"/>
          </p:cNvSpPr>
          <p:nvPr>
            <p:ph type="title"/>
          </p:nvPr>
        </p:nvSpPr>
        <p:spPr>
          <a:xfrm>
            <a:off x="838200" y="811161"/>
            <a:ext cx="3335594" cy="5403370"/>
          </a:xfrm>
        </p:spPr>
        <p:txBody>
          <a:bodyPr vert="horz" lIns="91440" tIns="45720" rIns="91440" bIns="45720" rtlCol="0" anchor="ctr">
            <a:normAutofit/>
          </a:bodyPr>
          <a:lstStyle/>
          <a:p>
            <a:r>
              <a:rPr lang="en-US" kern="1200">
                <a:solidFill>
                  <a:srgbClr val="FFFFFF"/>
                </a:solidFill>
                <a:latin typeface="Segoe UI" panose="020B0502040204020203" pitchFamily="34" charset="0"/>
                <a:cs typeface="Segoe UI" panose="020B0502040204020203" pitchFamily="34" charset="0"/>
              </a:rPr>
              <a:t>Customer Objections</a:t>
            </a:r>
          </a:p>
        </p:txBody>
      </p:sp>
      <p:sp>
        <p:nvSpPr>
          <p:cNvPr id="20" name="Rectangle 19">
            <a:extLst>
              <a:ext uri="{FF2B5EF4-FFF2-40B4-BE49-F238E27FC236}">
                <a16:creationId xmlns:a16="http://schemas.microsoft.com/office/drawing/2014/main" id="{156189E5-8A3E-4CFD-B71B-CCD0F8495E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3" y="0"/>
            <a:ext cx="142074"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graphicFrame>
        <p:nvGraphicFramePr>
          <p:cNvPr id="6" name="Content Placeholder 2">
            <a:extLst>
              <a:ext uri="{FF2B5EF4-FFF2-40B4-BE49-F238E27FC236}">
                <a16:creationId xmlns:a16="http://schemas.microsoft.com/office/drawing/2014/main" id="{FFD7D1A0-B1CC-453A-B862-0D882E989064}"/>
              </a:ext>
            </a:extLst>
          </p:cNvPr>
          <p:cNvGraphicFramePr/>
          <p:nvPr>
            <p:extLst>
              <p:ext uri="{D42A27DB-BD31-4B8C-83A1-F6EECF244321}">
                <p14:modId xmlns:p14="http://schemas.microsoft.com/office/powerpoint/2010/main" val="2079343293"/>
              </p:ext>
            </p:extLst>
          </p:nvPr>
        </p:nvGraphicFramePr>
        <p:xfrm>
          <a:off x="5459413" y="642938"/>
          <a:ext cx="6089650" cy="55721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980308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336162-B533-4EFE-8BB3-8EBB4A5E32F8}"/>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314384" cy="685800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CBE4A7E8-0E68-4876-80EC-9DBA9F827DFC}"/>
              </a:ext>
            </a:extLst>
          </p:cNvPr>
          <p:cNvSpPr>
            <a:spLocks noGrp="1"/>
          </p:cNvSpPr>
          <p:nvPr>
            <p:ph type="title"/>
          </p:nvPr>
        </p:nvSpPr>
        <p:spPr>
          <a:xfrm>
            <a:off x="829781" y="2745736"/>
            <a:ext cx="3698803" cy="1366528"/>
          </a:xfrm>
          <a:solidFill>
            <a:srgbClr val="FFFFFF"/>
          </a:solidFill>
          <a:ln w="25400" cap="sq">
            <a:solidFill>
              <a:srgbClr val="404040"/>
            </a:solidFill>
            <a:miter lim="800000"/>
          </a:ln>
        </p:spPr>
        <p:txBody>
          <a:bodyPr vert="horz" lIns="91440" tIns="45720" rIns="91440" bIns="45720" rtlCol="0" anchor="ctr">
            <a:normAutofit/>
          </a:bodyPr>
          <a:lstStyle/>
          <a:p>
            <a:pPr algn="ctr"/>
            <a:r>
              <a:rPr lang="en-US" sz="3200" kern="1200">
                <a:solidFill>
                  <a:srgbClr val="262626"/>
                </a:solidFill>
                <a:latin typeface="Segoe UI" panose="020B0502040204020203" pitchFamily="34" charset="0"/>
                <a:cs typeface="Segoe UI" panose="020B0502040204020203" pitchFamily="34" charset="0"/>
              </a:rPr>
              <a:t>Customer Objections</a:t>
            </a:r>
          </a:p>
        </p:txBody>
      </p:sp>
      <p:sp>
        <p:nvSpPr>
          <p:cNvPr id="4" name="Content Placeholder 2">
            <a:extLst>
              <a:ext uri="{FF2B5EF4-FFF2-40B4-BE49-F238E27FC236}">
                <a16:creationId xmlns:a16="http://schemas.microsoft.com/office/drawing/2014/main" id="{E736D79B-53AC-40A6-8358-F5F2C6392347}"/>
              </a:ext>
            </a:extLst>
          </p:cNvPr>
          <p:cNvSpPr txBox="1">
            <a:spLocks/>
          </p:cNvSpPr>
          <p:nvPr/>
        </p:nvSpPr>
        <p:spPr>
          <a:xfrm>
            <a:off x="6049182" y="802638"/>
            <a:ext cx="5408696" cy="5252722"/>
          </a:xfrm>
          <a:prstGeom prst="rect">
            <a:avLst/>
          </a:prstGeom>
        </p:spPr>
        <p:txBody>
          <a:bodyPr vert="horz" lIns="91440" tIns="45720" rIns="91440" bIns="45720" rtlCol="0" anchor="ctr">
            <a:norm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ea typeface="+mn-ea"/>
              </a:rPr>
              <a:t>Management:</a:t>
            </a: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1" u="none" strike="noStrike" kern="1200" cap="none" spc="0" normalizeH="0" baseline="0" noProof="0" dirty="0">
                <a:ln>
                  <a:noFill/>
                </a:ln>
                <a:solidFill>
                  <a:prstClr val="white"/>
                </a:solidFill>
                <a:effectLst/>
                <a:uLnTx/>
                <a:uFillTx/>
                <a:ea typeface="+mn-ea"/>
              </a:rPr>
              <a:t>We would prefer not to have to manage patching of web servers and databases</a:t>
            </a: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1" u="none" strike="noStrike" kern="1200" cap="none" spc="0" normalizeH="0" baseline="0" noProof="0" dirty="0">
                <a:ln>
                  <a:noFill/>
                </a:ln>
                <a:solidFill>
                  <a:prstClr val="white"/>
                </a:solidFill>
                <a:effectLst/>
                <a:uLnTx/>
                <a:uFillTx/>
                <a:ea typeface="+mn-ea"/>
              </a:rPr>
              <a:t>With all of our websites and databases around the world, how do we keep tabs on which is up and which is down and which is struggling?</a:t>
            </a: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1" u="none" strike="noStrike" kern="1200" cap="none" spc="0" normalizeH="0" baseline="0" noProof="0" dirty="0">
                <a:ln>
                  <a:noFill/>
                </a:ln>
                <a:solidFill>
                  <a:prstClr val="white"/>
                </a:solidFill>
                <a:effectLst/>
                <a:uLnTx/>
                <a:uFillTx/>
                <a:ea typeface="+mn-ea"/>
              </a:rPr>
              <a:t>We need a simple solution to schedule and automate backup of the website and database</a:t>
            </a:r>
          </a:p>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endParaRPr kumimoji="0" lang="en-US" sz="2400" b="0" i="0" u="none" strike="noStrike" kern="1200" cap="none" spc="0" normalizeH="0" baseline="0" noProof="0" dirty="0">
              <a:ln>
                <a:noFill/>
              </a:ln>
              <a:solidFill>
                <a:prstClr val="white"/>
              </a:solidFill>
              <a:effectLst/>
              <a:uLnTx/>
              <a:uFillTx/>
              <a:ea typeface="+mn-ea"/>
            </a:endParaRPr>
          </a:p>
        </p:txBody>
      </p:sp>
    </p:spTree>
    <p:custDataLst>
      <p:tags r:id="rId1"/>
    </p:custDataLst>
    <p:extLst>
      <p:ext uri="{BB962C8B-B14F-4D97-AF65-F5344CB8AC3E}">
        <p14:creationId xmlns:p14="http://schemas.microsoft.com/office/powerpoint/2010/main" val="2321845716"/>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336162-B533-4EFE-8BB3-8EBB4A5E32F8}"/>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314384" cy="685800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A4495FFA-D06D-4FA4-8CB3-B3F869F698FE}"/>
              </a:ext>
            </a:extLst>
          </p:cNvPr>
          <p:cNvSpPr>
            <a:spLocks noGrp="1"/>
          </p:cNvSpPr>
          <p:nvPr>
            <p:ph type="title"/>
          </p:nvPr>
        </p:nvSpPr>
        <p:spPr>
          <a:xfrm>
            <a:off x="829781" y="2745736"/>
            <a:ext cx="3698803" cy="1366528"/>
          </a:xfrm>
          <a:solidFill>
            <a:srgbClr val="FFFFFF"/>
          </a:solidFill>
          <a:ln w="25400" cap="sq">
            <a:solidFill>
              <a:srgbClr val="404040"/>
            </a:solidFill>
            <a:miter lim="800000"/>
          </a:ln>
        </p:spPr>
        <p:txBody>
          <a:bodyPr vert="horz" lIns="91440" tIns="45720" rIns="91440" bIns="45720" rtlCol="0" anchor="ctr">
            <a:normAutofit/>
          </a:bodyPr>
          <a:lstStyle/>
          <a:p>
            <a:pPr algn="ctr"/>
            <a:r>
              <a:rPr lang="en-US" sz="3200" kern="1200">
                <a:solidFill>
                  <a:srgbClr val="262626"/>
                </a:solidFill>
                <a:latin typeface="Segoe UI" panose="020B0502040204020203" pitchFamily="34" charset="0"/>
                <a:cs typeface="Segoe UI" panose="020B0502040204020203" pitchFamily="34" charset="0"/>
              </a:rPr>
              <a:t>Customer Objections</a:t>
            </a:r>
          </a:p>
        </p:txBody>
      </p:sp>
      <p:sp>
        <p:nvSpPr>
          <p:cNvPr id="4" name="Content Placeholder 2">
            <a:extLst>
              <a:ext uri="{FF2B5EF4-FFF2-40B4-BE49-F238E27FC236}">
                <a16:creationId xmlns:a16="http://schemas.microsoft.com/office/drawing/2014/main" id="{28A591D4-3BF4-44ED-BB36-2D3310AFDB3F}"/>
              </a:ext>
            </a:extLst>
          </p:cNvPr>
          <p:cNvSpPr txBox="1">
            <a:spLocks/>
          </p:cNvSpPr>
          <p:nvPr/>
        </p:nvSpPr>
        <p:spPr>
          <a:xfrm>
            <a:off x="6049182" y="802638"/>
            <a:ext cx="5408696" cy="5252722"/>
          </a:xfrm>
          <a:prstGeom prst="rect">
            <a:avLst/>
          </a:prstGeom>
        </p:spPr>
        <p:txBody>
          <a:bodyPr vert="horz" lIns="91440" tIns="45720" rIns="91440" bIns="45720" rtlCol="0" anchor="ctr">
            <a:norm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ea typeface="+mn-ea"/>
              </a:rPr>
              <a:t>Security:</a:t>
            </a: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1" u="none" strike="noStrike" kern="1200" cap="none" spc="0" normalizeH="0" baseline="0" noProof="0" dirty="0">
                <a:ln>
                  <a:noFill/>
                </a:ln>
                <a:solidFill>
                  <a:prstClr val="white"/>
                </a:solidFill>
                <a:effectLst/>
                <a:uLnTx/>
                <a:uFillTx/>
                <a:ea typeface="+mn-ea"/>
              </a:rPr>
              <a:t>Is it possible to allow our visitors to use a mix of legacy and modern browsers and still provide for secure transactions?</a:t>
            </a: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1" u="none" strike="noStrike" kern="1200" cap="none" spc="0" normalizeH="0" baseline="0" noProof="0" dirty="0">
                <a:ln>
                  <a:noFill/>
                </a:ln>
                <a:solidFill>
                  <a:prstClr val="white"/>
                </a:solidFill>
                <a:effectLst/>
                <a:uLnTx/>
                <a:uFillTx/>
                <a:ea typeface="+mn-ea"/>
              </a:rPr>
              <a:t>What does Azure offer to help us with auditing access to our web servers and databases?</a:t>
            </a: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1" u="none" strike="noStrike" kern="1200" cap="none" spc="0" normalizeH="0" baseline="0" noProof="0" dirty="0">
                <a:ln>
                  <a:noFill/>
                </a:ln>
                <a:solidFill>
                  <a:prstClr val="white"/>
                </a:solidFill>
                <a:effectLst/>
                <a:uLnTx/>
                <a:uFillTx/>
                <a:ea typeface="+mn-ea"/>
              </a:rPr>
              <a:t>Our staff is accustomed to accustomed to a single sign-on experience — will this still be possible?</a:t>
            </a:r>
          </a:p>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endParaRPr kumimoji="0" lang="en-US" sz="2400" b="0" i="0" u="none" strike="noStrike" kern="1200" cap="none" spc="0" normalizeH="0" baseline="0" noProof="0" dirty="0">
              <a:ln>
                <a:noFill/>
              </a:ln>
              <a:solidFill>
                <a:prstClr val="white"/>
              </a:solidFill>
              <a:effectLst/>
              <a:uLnTx/>
              <a:uFillTx/>
              <a:ea typeface="+mn-ea"/>
            </a:endParaRPr>
          </a:p>
        </p:txBody>
      </p:sp>
    </p:spTree>
    <p:custDataLst>
      <p:tags r:id="rId1"/>
    </p:custDataLst>
    <p:extLst>
      <p:ext uri="{BB962C8B-B14F-4D97-AF65-F5344CB8AC3E}">
        <p14:creationId xmlns:p14="http://schemas.microsoft.com/office/powerpoint/2010/main" val="2511217917"/>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BF7AE-DC06-4B59-9A65-AC2DB0BF49F2}"/>
              </a:ext>
            </a:extLst>
          </p:cNvPr>
          <p:cNvSpPr>
            <a:spLocks noGrp="1"/>
          </p:cNvSpPr>
          <p:nvPr>
            <p:ph type="title"/>
          </p:nvPr>
        </p:nvSpPr>
        <p:spPr/>
        <p:txBody>
          <a:bodyPr/>
          <a:lstStyle/>
          <a:p>
            <a:r>
              <a:rPr lang="fr-BE" dirty="0"/>
              <a:t>Happy Case-</a:t>
            </a:r>
            <a:r>
              <a:rPr lang="fr-BE" dirty="0" err="1"/>
              <a:t>Studying</a:t>
            </a:r>
            <a:r>
              <a:rPr lang="fr-BE" dirty="0"/>
              <a:t> </a:t>
            </a:r>
            <a:r>
              <a:rPr lang="fr-BE" dirty="0">
                <a:sym typeface="Wingdings" panose="05000000000000000000" pitchFamily="2" charset="2"/>
              </a:rPr>
              <a:t></a:t>
            </a:r>
            <a:endParaRPr lang="fr-BE" dirty="0"/>
          </a:p>
        </p:txBody>
      </p:sp>
    </p:spTree>
    <p:custDataLst>
      <p:tags r:id="rId1"/>
    </p:custDataLst>
    <p:extLst>
      <p:ext uri="{BB962C8B-B14F-4D97-AF65-F5344CB8AC3E}">
        <p14:creationId xmlns:p14="http://schemas.microsoft.com/office/powerpoint/2010/main" val="2357656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02C667-CE5B-44A1-8836-815021B826F9}"/>
              </a:ext>
            </a:extLst>
          </p:cNvPr>
          <p:cNvSpPr>
            <a:spLocks noGrp="1"/>
          </p:cNvSpPr>
          <p:nvPr>
            <p:ph type="title"/>
          </p:nvPr>
        </p:nvSpPr>
        <p:spPr/>
        <p:txBody>
          <a:bodyPr/>
          <a:lstStyle/>
          <a:p>
            <a:r>
              <a:rPr lang="fr-BE" dirty="0"/>
              <a:t>PaaS Services Case </a:t>
            </a:r>
            <a:r>
              <a:rPr lang="fr-BE" dirty="0" err="1"/>
              <a:t>Study</a:t>
            </a:r>
            <a:endParaRPr lang="fr-BE" dirty="0"/>
          </a:p>
        </p:txBody>
      </p:sp>
      <p:sp>
        <p:nvSpPr>
          <p:cNvPr id="2" name="Rectangle 1">
            <a:extLst>
              <a:ext uri="{FF2B5EF4-FFF2-40B4-BE49-F238E27FC236}">
                <a16:creationId xmlns:a16="http://schemas.microsoft.com/office/drawing/2014/main" id="{C1A9C1A4-2B2B-4083-83EF-83A8F540B106}"/>
              </a:ext>
            </a:extLst>
          </p:cNvPr>
          <p:cNvSpPr/>
          <p:nvPr/>
        </p:nvSpPr>
        <p:spPr>
          <a:xfrm>
            <a:off x="158282" y="4178497"/>
            <a:ext cx="1170547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Segoe UI"/>
                <a:ea typeface="+mn-ea"/>
                <a:cs typeface="+mn-cs"/>
              </a:rPr>
              <a:t>https://pdtitlabsstorage.blob.core.windows.net/azureadvanced/</a:t>
            </a:r>
            <a:br>
              <a:rPr kumimoji="0" lang="en-US" sz="2800" b="1" i="0" u="none" strike="noStrike" kern="1200" cap="none" spc="0" normalizeH="0" baseline="0" noProof="0" dirty="0">
                <a:ln>
                  <a:noFill/>
                </a:ln>
                <a:solidFill>
                  <a:srgbClr val="FF0000"/>
                </a:solidFill>
                <a:effectLst/>
                <a:uLnTx/>
                <a:uFillTx/>
                <a:latin typeface="Segoe UI"/>
                <a:ea typeface="+mn-ea"/>
                <a:cs typeface="+mn-cs"/>
              </a:rPr>
            </a:br>
            <a:r>
              <a:rPr kumimoji="0" lang="en-US" sz="2800" b="1" i="0" u="none" strike="noStrike" kern="1200" cap="none" spc="0" normalizeH="0" baseline="0" noProof="0" dirty="0">
                <a:ln>
                  <a:noFill/>
                </a:ln>
                <a:solidFill>
                  <a:srgbClr val="FF0000"/>
                </a:solidFill>
                <a:effectLst/>
                <a:uLnTx/>
                <a:uFillTx/>
                <a:latin typeface="Segoe UI"/>
                <a:ea typeface="+mn-ea"/>
                <a:cs typeface="+mn-cs"/>
              </a:rPr>
              <a:t>PAASCaseStudy.pdf</a:t>
            </a:r>
          </a:p>
        </p:txBody>
      </p:sp>
    </p:spTree>
    <p:custDataLst>
      <p:tags r:id="rId1"/>
    </p:custDataLst>
    <p:extLst>
      <p:ext uri="{BB962C8B-B14F-4D97-AF65-F5344CB8AC3E}">
        <p14:creationId xmlns:p14="http://schemas.microsoft.com/office/powerpoint/2010/main" val="37055366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829AB-9507-4E55-9964-8C5C23DD35A5}"/>
              </a:ext>
            </a:extLst>
          </p:cNvPr>
          <p:cNvSpPr>
            <a:spLocks noGrp="1"/>
          </p:cNvSpPr>
          <p:nvPr>
            <p:ph type="title"/>
          </p:nvPr>
        </p:nvSpPr>
        <p:spPr>
          <a:xfrm>
            <a:off x="640080" y="640080"/>
            <a:ext cx="2752354" cy="2709275"/>
          </a:xfrm>
          <a:prstGeom prst="ellipse">
            <a:avLst/>
          </a:prstGeom>
          <a:solidFill>
            <a:schemeClr val="tx1"/>
          </a:solidFill>
          <a:ln w="174625" cmpd="thinThick">
            <a:solidFill>
              <a:schemeClr val="tx1"/>
            </a:solidFill>
          </a:ln>
        </p:spPr>
        <p:txBody>
          <a:bodyPr anchor="ctr">
            <a:normAutofit/>
          </a:bodyPr>
          <a:lstStyle/>
          <a:p>
            <a:pPr algn="ctr"/>
            <a:r>
              <a:rPr lang="en-US" sz="2800">
                <a:solidFill>
                  <a:schemeClr val="bg1"/>
                </a:solidFill>
              </a:rPr>
              <a:t>Potential Solution</a:t>
            </a:r>
          </a:p>
        </p:txBody>
      </p:sp>
      <p:sp>
        <p:nvSpPr>
          <p:cNvPr id="6" name="Content Placeholder 2">
            <a:extLst>
              <a:ext uri="{FF2B5EF4-FFF2-40B4-BE49-F238E27FC236}">
                <a16:creationId xmlns:a16="http://schemas.microsoft.com/office/drawing/2014/main" id="{472C62C9-05B1-42AD-936C-7FFA63B599E7}"/>
              </a:ext>
            </a:extLst>
          </p:cNvPr>
          <p:cNvSpPr txBox="1">
            <a:spLocks/>
          </p:cNvSpPr>
          <p:nvPr/>
        </p:nvSpPr>
        <p:spPr>
          <a:xfrm>
            <a:off x="3895994" y="1063418"/>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marR="0" lvl="0" indent="0" algn="l" defTabSz="914400" rtl="0" eaLnBrk="1" fontAlgn="base" latinLnBrk="0" hangingPunct="1">
              <a:lnSpc>
                <a:spcPct val="100000"/>
              </a:lnSpc>
              <a:spcBef>
                <a:spcPts val="600"/>
              </a:spcBef>
              <a:spcAft>
                <a:spcPct val="0"/>
              </a:spcAft>
              <a:buClr>
                <a:srgbClr val="0070C0"/>
              </a:buClr>
              <a:buSzPct val="90000"/>
              <a:buFont typeface="Arial" pitchFamily="34" charset="0"/>
              <a:buNone/>
              <a:tabLst/>
              <a:defRPr/>
            </a:pPr>
            <a:r>
              <a:rPr kumimoji="0" lang="en-US" sz="2800" b="0" i="0" u="none" strike="noStrike" kern="0" cap="none" spc="0" normalizeH="0" baseline="0" noProof="0" dirty="0">
                <a:ln>
                  <a:noFill/>
                </a:ln>
                <a:solidFill>
                  <a:srgbClr val="000000"/>
                </a:solidFill>
                <a:effectLst/>
                <a:uLnTx/>
                <a:uFillTx/>
                <a:latin typeface="Segoe UI" pitchFamily="34" charset="0"/>
                <a:cs typeface="Segoe UI" pitchFamily="34" charset="0"/>
              </a:rPr>
              <a:t>Web Application Hosting</a:t>
            </a:r>
          </a:p>
        </p:txBody>
      </p:sp>
      <p:pic>
        <p:nvPicPr>
          <p:cNvPr id="7" name="Picture 6" descr="Solution using Traffic Manager to geographically balance multiple deployments.">
            <a:extLst>
              <a:ext uri="{FF2B5EF4-FFF2-40B4-BE49-F238E27FC236}">
                <a16:creationId xmlns:a16="http://schemas.microsoft.com/office/drawing/2014/main" id="{29037545-5116-4122-9F2C-AF051CC77F3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bwMode="auto">
          <a:xfrm>
            <a:off x="4040710" y="1695457"/>
            <a:ext cx="7936992" cy="4760001"/>
          </a:xfrm>
          <a:prstGeom prst="rect">
            <a:avLst/>
          </a:prstGeom>
          <a:noFill/>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54E502CF-27E2-44C5-B8A3-E7FD9C5B48B1}"/>
              </a:ext>
            </a:extLst>
          </p:cNvPr>
          <p:cNvSpPr txBox="1"/>
          <p:nvPr/>
        </p:nvSpPr>
        <p:spPr>
          <a:xfrm>
            <a:off x="10155787" y="1625385"/>
            <a:ext cx="1723357" cy="369332"/>
          </a:xfrm>
          <a:prstGeom prst="rect">
            <a:avLst/>
          </a:prstGeom>
          <a:solidFill>
            <a:srgbClr val="00B0F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rPr>
              <a:t>Azure US </a:t>
            </a:r>
            <a:r>
              <a:rPr kumimoji="0" lang="fr-BE" sz="1800" b="0" i="0" u="none" strike="noStrike" kern="1200" cap="none" spc="0" normalizeH="0" baseline="0" noProof="0" dirty="0" err="1">
                <a:ln>
                  <a:noFill/>
                </a:ln>
                <a:solidFill>
                  <a:prstClr val="black"/>
                </a:solidFill>
                <a:effectLst/>
                <a:uLnTx/>
                <a:uFillTx/>
                <a:latin typeface="Calibri" panose="020F0502020204030204"/>
                <a:ea typeface="+mn-ea"/>
                <a:cs typeface="+mn-cs"/>
              </a:rPr>
              <a:t>Region</a:t>
            </a:r>
            <a:endPar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89BEA394-B833-4091-B16F-5DE1C4EE861B}"/>
              </a:ext>
            </a:extLst>
          </p:cNvPr>
          <p:cNvSpPr txBox="1"/>
          <p:nvPr/>
        </p:nvSpPr>
        <p:spPr>
          <a:xfrm>
            <a:off x="10155787" y="4075457"/>
            <a:ext cx="1729769" cy="369332"/>
          </a:xfrm>
          <a:prstGeom prst="rect">
            <a:avLst/>
          </a:prstGeom>
          <a:solidFill>
            <a:srgbClr val="00B0F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rPr>
              <a:t>Azure EU </a:t>
            </a:r>
            <a:r>
              <a:rPr kumimoji="0" lang="fr-BE" sz="1800" b="0" i="0" u="none" strike="noStrike" kern="1200" cap="none" spc="0" normalizeH="0" baseline="0" noProof="0" dirty="0" err="1">
                <a:ln>
                  <a:noFill/>
                </a:ln>
                <a:solidFill>
                  <a:prstClr val="black"/>
                </a:solidFill>
                <a:effectLst/>
                <a:uLnTx/>
                <a:uFillTx/>
                <a:latin typeface="Calibri" panose="020F0502020204030204"/>
                <a:ea typeface="+mn-ea"/>
                <a:cs typeface="+mn-cs"/>
              </a:rPr>
              <a:t>Region</a:t>
            </a:r>
            <a:endPar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8C57134-0557-4CBA-8829-B6C926CC9ABE}"/>
              </a:ext>
            </a:extLst>
          </p:cNvPr>
          <p:cNvSpPr txBox="1"/>
          <p:nvPr/>
        </p:nvSpPr>
        <p:spPr>
          <a:xfrm>
            <a:off x="4219488" y="3349355"/>
            <a:ext cx="1873462" cy="369332"/>
          </a:xfrm>
          <a:prstGeom prst="rect">
            <a:avLst/>
          </a:prstGeom>
          <a:solidFill>
            <a:srgbClr val="00B0F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err="1">
                <a:ln>
                  <a:noFill/>
                </a:ln>
                <a:solidFill>
                  <a:prstClr val="black"/>
                </a:solidFill>
                <a:effectLst/>
                <a:uLnTx/>
                <a:uFillTx/>
                <a:latin typeface="Calibri" panose="020F0502020204030204"/>
                <a:ea typeface="+mn-ea"/>
                <a:cs typeface="+mn-cs"/>
              </a:rPr>
              <a:t>FastCar</a:t>
            </a:r>
            <a:r>
              <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rPr>
              <a:t> Racing Inc</a:t>
            </a:r>
          </a:p>
        </p:txBody>
      </p:sp>
    </p:spTree>
    <p:custDataLst>
      <p:tags r:id="rId1"/>
    </p:custDataLst>
    <p:extLst>
      <p:ext uri="{BB962C8B-B14F-4D97-AF65-F5344CB8AC3E}">
        <p14:creationId xmlns:p14="http://schemas.microsoft.com/office/powerpoint/2010/main" val="20079315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47382-D200-42DE-9811-9C5530B0CE06}"/>
              </a:ext>
            </a:extLst>
          </p:cNvPr>
          <p:cNvSpPr>
            <a:spLocks noGrp="1"/>
          </p:cNvSpPr>
          <p:nvPr>
            <p:ph type="title"/>
          </p:nvPr>
        </p:nvSpPr>
        <p:spPr>
          <a:xfrm>
            <a:off x="640080" y="640080"/>
            <a:ext cx="2752354" cy="2709275"/>
          </a:xfrm>
          <a:prstGeom prst="ellipse">
            <a:avLst/>
          </a:prstGeom>
          <a:solidFill>
            <a:schemeClr val="tx1"/>
          </a:solidFill>
          <a:ln w="174625" cmpd="thinThick">
            <a:solidFill>
              <a:schemeClr val="tx1"/>
            </a:solidFill>
          </a:ln>
        </p:spPr>
        <p:txBody>
          <a:bodyPr anchor="ctr">
            <a:normAutofit/>
          </a:bodyPr>
          <a:lstStyle/>
          <a:p>
            <a:pPr algn="ctr"/>
            <a:r>
              <a:rPr lang="en-US" sz="2800">
                <a:solidFill>
                  <a:schemeClr val="bg1"/>
                </a:solidFill>
              </a:rPr>
              <a:t>Potential Solution</a:t>
            </a:r>
          </a:p>
        </p:txBody>
      </p:sp>
      <p:grpSp>
        <p:nvGrpSpPr>
          <p:cNvPr id="12" name="Group 11" descr="Solution using Traffic Manager with Database Sync Between Regions">
            <a:extLst>
              <a:ext uri="{FF2B5EF4-FFF2-40B4-BE49-F238E27FC236}">
                <a16:creationId xmlns:a16="http://schemas.microsoft.com/office/drawing/2014/main" id="{BE3EE9C3-52B5-435C-9947-7225AB427F57}"/>
              </a:ext>
            </a:extLst>
          </p:cNvPr>
          <p:cNvGrpSpPr/>
          <p:nvPr/>
        </p:nvGrpSpPr>
        <p:grpSpPr>
          <a:xfrm>
            <a:off x="3803839" y="1339082"/>
            <a:ext cx="8388161" cy="5249863"/>
            <a:chOff x="2249676" y="1744662"/>
            <a:chExt cx="8388161" cy="5249863"/>
          </a:xfrm>
        </p:grpSpPr>
        <p:pic>
          <p:nvPicPr>
            <p:cNvPr id="13" name="Picture 12" descr="Triplestore:Screenshots:Screen Shot 2015-01-08 at 8.32.14 AM.png">
              <a:extLst>
                <a:ext uri="{FF2B5EF4-FFF2-40B4-BE49-F238E27FC236}">
                  <a16:creationId xmlns:a16="http://schemas.microsoft.com/office/drawing/2014/main" id="{034ACB88-C112-4148-8BFF-518358D75168}"/>
                </a:ext>
              </a:extLst>
            </p:cNvPr>
            <p:cNvPicPr/>
            <p:nvPr/>
          </p:nvPicPr>
          <p:blipFill rotWithShape="1">
            <a:blip r:embed="rId4">
              <a:extLst>
                <a:ext uri="{28A0092B-C50C-407E-A947-70E740481C1C}">
                  <a14:useLocalDpi xmlns:a14="http://schemas.microsoft.com/office/drawing/2010/main" val="0"/>
                </a:ext>
              </a:extLst>
            </a:blip>
            <a:srcRect/>
            <a:stretch/>
          </p:blipFill>
          <p:spPr bwMode="auto">
            <a:xfrm>
              <a:off x="2249676" y="1744662"/>
              <a:ext cx="7937122" cy="5249863"/>
            </a:xfrm>
            <a:prstGeom prst="rect">
              <a:avLst/>
            </a:prstGeom>
            <a:noFill/>
            <a:ln>
              <a:noFill/>
            </a:ln>
            <a:extLst>
              <a:ext uri="{53640926-AAD7-44D8-BBD7-CCE9431645EC}">
                <a14:shadowObscured xmlns:a14="http://schemas.microsoft.com/office/drawing/2010/main"/>
              </a:ext>
            </a:extLst>
          </p:spPr>
        </p:pic>
        <p:sp>
          <p:nvSpPr>
            <p:cNvPr id="14" name="Rectangle 13">
              <a:extLst>
                <a:ext uri="{FF2B5EF4-FFF2-40B4-BE49-F238E27FC236}">
                  <a16:creationId xmlns:a16="http://schemas.microsoft.com/office/drawing/2014/main" id="{F22592D0-D2D7-4A49-8AA5-7310229BD80F}"/>
                </a:ext>
              </a:extLst>
            </p:cNvPr>
            <p:cNvSpPr/>
            <p:nvPr/>
          </p:nvSpPr>
          <p:spPr bwMode="auto">
            <a:xfrm>
              <a:off x="3627437" y="2963862"/>
              <a:ext cx="152400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5" name="Rectangle 14">
              <a:extLst>
                <a:ext uri="{FF2B5EF4-FFF2-40B4-BE49-F238E27FC236}">
                  <a16:creationId xmlns:a16="http://schemas.microsoft.com/office/drawing/2014/main" id="{C18FABD4-AFAB-406C-AD46-F6D1FDC4B44E}"/>
                </a:ext>
              </a:extLst>
            </p:cNvPr>
            <p:cNvSpPr/>
            <p:nvPr/>
          </p:nvSpPr>
          <p:spPr bwMode="auto">
            <a:xfrm>
              <a:off x="7894637" y="2003742"/>
              <a:ext cx="274320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6" name="Rectangle 15">
              <a:extLst>
                <a:ext uri="{FF2B5EF4-FFF2-40B4-BE49-F238E27FC236}">
                  <a16:creationId xmlns:a16="http://schemas.microsoft.com/office/drawing/2014/main" id="{9FCB29E5-C663-4BF1-96C3-AC3E56B23849}"/>
                </a:ext>
              </a:extLst>
            </p:cNvPr>
            <p:cNvSpPr/>
            <p:nvPr/>
          </p:nvSpPr>
          <p:spPr bwMode="auto">
            <a:xfrm>
              <a:off x="7669118" y="6773862"/>
              <a:ext cx="274320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7" name="Rectangle 16">
              <a:extLst>
                <a:ext uri="{FF2B5EF4-FFF2-40B4-BE49-F238E27FC236}">
                  <a16:creationId xmlns:a16="http://schemas.microsoft.com/office/drawing/2014/main" id="{699322EF-BC0E-4A94-A064-2328816B50A0}"/>
                </a:ext>
              </a:extLst>
            </p:cNvPr>
            <p:cNvSpPr/>
            <p:nvPr/>
          </p:nvSpPr>
          <p:spPr bwMode="auto">
            <a:xfrm>
              <a:off x="7361237" y="3597762"/>
              <a:ext cx="192024" cy="1371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8" name="Rectangle 17">
              <a:extLst>
                <a:ext uri="{FF2B5EF4-FFF2-40B4-BE49-F238E27FC236}">
                  <a16:creationId xmlns:a16="http://schemas.microsoft.com/office/drawing/2014/main" id="{A85035DF-3D85-4385-9729-1D05F9A6C7D7}"/>
                </a:ext>
              </a:extLst>
            </p:cNvPr>
            <p:cNvSpPr/>
            <p:nvPr/>
          </p:nvSpPr>
          <p:spPr bwMode="auto">
            <a:xfrm>
              <a:off x="7361237" y="6011862"/>
              <a:ext cx="201168" cy="2011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19" name="Content Placeholder 2">
            <a:extLst>
              <a:ext uri="{FF2B5EF4-FFF2-40B4-BE49-F238E27FC236}">
                <a16:creationId xmlns:a16="http://schemas.microsoft.com/office/drawing/2014/main" id="{14D4FEC2-B854-4802-A836-5CFDF473BB80}"/>
              </a:ext>
            </a:extLst>
          </p:cNvPr>
          <p:cNvSpPr txBox="1">
            <a:spLocks/>
          </p:cNvSpPr>
          <p:nvPr/>
        </p:nvSpPr>
        <p:spPr>
          <a:xfrm>
            <a:off x="3696571" y="1021215"/>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marR="0" lvl="0" indent="0" algn="l" defTabSz="914400" rtl="0" eaLnBrk="1" fontAlgn="base" latinLnBrk="0" hangingPunct="1">
              <a:lnSpc>
                <a:spcPct val="100000"/>
              </a:lnSpc>
              <a:spcBef>
                <a:spcPts val="600"/>
              </a:spcBef>
              <a:spcAft>
                <a:spcPct val="0"/>
              </a:spcAft>
              <a:buClr>
                <a:srgbClr val="0070C0"/>
              </a:buClr>
              <a:buSzPct val="90000"/>
              <a:buFont typeface="Arial" pitchFamily="34" charset="0"/>
              <a:buNone/>
              <a:tabLst/>
              <a:defRPr/>
            </a:pPr>
            <a:r>
              <a:rPr kumimoji="0" lang="en-US" sz="2800" b="0" i="0" u="none" strike="noStrike" kern="0" cap="none" spc="0" normalizeH="0" baseline="0" noProof="0" dirty="0">
                <a:ln>
                  <a:noFill/>
                </a:ln>
                <a:solidFill>
                  <a:srgbClr val="000000"/>
                </a:solidFill>
                <a:effectLst/>
                <a:uLnTx/>
                <a:uFillTx/>
                <a:latin typeface="Segoe UI" pitchFamily="34" charset="0"/>
                <a:cs typeface="Segoe UI" pitchFamily="34" charset="0"/>
              </a:rPr>
              <a:t>Database Queries &amp; Sync</a:t>
            </a:r>
          </a:p>
        </p:txBody>
      </p:sp>
      <p:sp>
        <p:nvSpPr>
          <p:cNvPr id="11" name="TextBox 10">
            <a:extLst>
              <a:ext uri="{FF2B5EF4-FFF2-40B4-BE49-F238E27FC236}">
                <a16:creationId xmlns:a16="http://schemas.microsoft.com/office/drawing/2014/main" id="{6389645C-F3B0-43C4-BE7C-9DF50704AF6E}"/>
              </a:ext>
            </a:extLst>
          </p:cNvPr>
          <p:cNvSpPr txBox="1"/>
          <p:nvPr/>
        </p:nvSpPr>
        <p:spPr>
          <a:xfrm>
            <a:off x="10092370" y="1305030"/>
            <a:ext cx="1723357" cy="369332"/>
          </a:xfrm>
          <a:prstGeom prst="rect">
            <a:avLst/>
          </a:prstGeom>
          <a:solidFill>
            <a:srgbClr val="00B0F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rPr>
              <a:t>Azure US </a:t>
            </a:r>
            <a:r>
              <a:rPr kumimoji="0" lang="fr-BE" sz="1800" b="0" i="0" u="none" strike="noStrike" kern="1200" cap="none" spc="0" normalizeH="0" baseline="0" noProof="0" dirty="0" err="1">
                <a:ln>
                  <a:noFill/>
                </a:ln>
                <a:solidFill>
                  <a:prstClr val="black"/>
                </a:solidFill>
                <a:effectLst/>
                <a:uLnTx/>
                <a:uFillTx/>
                <a:latin typeface="Calibri" panose="020F0502020204030204"/>
                <a:ea typeface="+mn-ea"/>
                <a:cs typeface="+mn-cs"/>
              </a:rPr>
              <a:t>Region</a:t>
            </a:r>
            <a:endPar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7BB4AFB2-32BF-43B4-AFF2-333BA87A5361}"/>
              </a:ext>
            </a:extLst>
          </p:cNvPr>
          <p:cNvSpPr txBox="1"/>
          <p:nvPr/>
        </p:nvSpPr>
        <p:spPr>
          <a:xfrm>
            <a:off x="10006629" y="6168571"/>
            <a:ext cx="1729769" cy="369332"/>
          </a:xfrm>
          <a:prstGeom prst="rect">
            <a:avLst/>
          </a:prstGeom>
          <a:solidFill>
            <a:srgbClr val="00B0F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rPr>
              <a:t>Azure EU </a:t>
            </a:r>
            <a:r>
              <a:rPr kumimoji="0" lang="fr-BE" sz="1800" b="0" i="0" u="none" strike="noStrike" kern="1200" cap="none" spc="0" normalizeH="0" baseline="0" noProof="0" dirty="0" err="1">
                <a:ln>
                  <a:noFill/>
                </a:ln>
                <a:solidFill>
                  <a:prstClr val="black"/>
                </a:solidFill>
                <a:effectLst/>
                <a:uLnTx/>
                <a:uFillTx/>
                <a:latin typeface="Calibri" panose="020F0502020204030204"/>
                <a:ea typeface="+mn-ea"/>
                <a:cs typeface="+mn-cs"/>
              </a:rPr>
              <a:t>Region</a:t>
            </a:r>
            <a:endPar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3F5C920D-8FE2-43E2-87E5-FB06245B3527}"/>
              </a:ext>
            </a:extLst>
          </p:cNvPr>
          <p:cNvSpPr txBox="1"/>
          <p:nvPr/>
        </p:nvSpPr>
        <p:spPr>
          <a:xfrm>
            <a:off x="4016896" y="3076096"/>
            <a:ext cx="1873462" cy="369332"/>
          </a:xfrm>
          <a:prstGeom prst="rect">
            <a:avLst/>
          </a:prstGeom>
          <a:solidFill>
            <a:srgbClr val="00B0F0"/>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err="1">
                <a:ln>
                  <a:noFill/>
                </a:ln>
                <a:solidFill>
                  <a:prstClr val="black"/>
                </a:solidFill>
                <a:effectLst/>
                <a:uLnTx/>
                <a:uFillTx/>
                <a:latin typeface="Calibri" panose="020F0502020204030204"/>
                <a:ea typeface="+mn-ea"/>
                <a:cs typeface="+mn-cs"/>
              </a:rPr>
              <a:t>FastCar</a:t>
            </a:r>
            <a:r>
              <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rPr>
              <a:t> Racing Inc</a:t>
            </a:r>
          </a:p>
        </p:txBody>
      </p:sp>
    </p:spTree>
    <p:custDataLst>
      <p:tags r:id="rId1"/>
    </p:custDataLst>
    <p:extLst>
      <p:ext uri="{BB962C8B-B14F-4D97-AF65-F5344CB8AC3E}">
        <p14:creationId xmlns:p14="http://schemas.microsoft.com/office/powerpoint/2010/main" val="14316343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E89D5E-1885-4160-AC77-CC471DD1D0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360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 name="Straight Connector 20">
            <a:extLst>
              <a:ext uri="{FF2B5EF4-FFF2-40B4-BE49-F238E27FC236}">
                <a16:creationId xmlns:a16="http://schemas.microsoft.com/office/drawing/2014/main" id="{550D2BD1-98F9-412D-905B-3A843EF4078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62000" y="2971800"/>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F64BD97-B83D-4B53-835F-91BED7692260}"/>
              </a:ext>
            </a:extLst>
          </p:cNvPr>
          <p:cNvSpPr>
            <a:spLocks noGrp="1"/>
          </p:cNvSpPr>
          <p:nvPr>
            <p:ph type="title"/>
          </p:nvPr>
        </p:nvSpPr>
        <p:spPr>
          <a:xfrm>
            <a:off x="943277" y="712269"/>
            <a:ext cx="3370998" cy="5502264"/>
          </a:xfrm>
        </p:spPr>
        <p:txBody>
          <a:bodyPr vert="horz" lIns="91440" tIns="45720" rIns="91440" bIns="45720" rtlCol="0" anchor="ctr">
            <a:normAutofit/>
          </a:bodyPr>
          <a:lstStyle/>
          <a:p>
            <a:r>
              <a:rPr lang="en-US" kern="1200">
                <a:solidFill>
                  <a:srgbClr val="FFFFFF"/>
                </a:solidFill>
                <a:latin typeface="+mj-lt"/>
                <a:ea typeface="+mj-ea"/>
                <a:cs typeface="+mj-cs"/>
              </a:rPr>
              <a:t>Benefits</a:t>
            </a:r>
          </a:p>
        </p:txBody>
      </p:sp>
      <p:graphicFrame>
        <p:nvGraphicFramePr>
          <p:cNvPr id="6" name="Content Placeholder 2">
            <a:extLst>
              <a:ext uri="{FF2B5EF4-FFF2-40B4-BE49-F238E27FC236}">
                <a16:creationId xmlns:a16="http://schemas.microsoft.com/office/drawing/2014/main" id="{37795B37-163D-40F9-A980-E5F775B3D9D4}"/>
              </a:ext>
            </a:extLst>
          </p:cNvPr>
          <p:cNvGraphicFramePr/>
          <p:nvPr/>
        </p:nvGraphicFramePr>
        <p:xfrm>
          <a:off x="5280025" y="642938"/>
          <a:ext cx="6269038" cy="55721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92799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8E89D5E-1885-4160-AC77-CC471DD1D0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360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 name="Straight Connector 19">
            <a:extLst>
              <a:ext uri="{FF2B5EF4-FFF2-40B4-BE49-F238E27FC236}">
                <a16:creationId xmlns:a16="http://schemas.microsoft.com/office/drawing/2014/main" id="{550D2BD1-98F9-412D-905B-3A843EF4078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62000" y="2971800"/>
            <a:ext cx="0" cy="91440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645DEB-B1D6-43F7-8114-23526A5C6054}"/>
              </a:ext>
            </a:extLst>
          </p:cNvPr>
          <p:cNvSpPr>
            <a:spLocks noGrp="1"/>
          </p:cNvSpPr>
          <p:nvPr>
            <p:ph type="title"/>
          </p:nvPr>
        </p:nvSpPr>
        <p:spPr>
          <a:xfrm>
            <a:off x="943277" y="712269"/>
            <a:ext cx="3370998" cy="5502264"/>
          </a:xfrm>
        </p:spPr>
        <p:txBody>
          <a:bodyPr vert="horz" lIns="91440" tIns="45720" rIns="91440" bIns="45720" rtlCol="0" anchor="ctr">
            <a:normAutofit/>
          </a:bodyPr>
          <a:lstStyle/>
          <a:p>
            <a:r>
              <a:rPr lang="en-US" kern="1200">
                <a:solidFill>
                  <a:srgbClr val="FFFFFF"/>
                </a:solidFill>
                <a:latin typeface="+mj-lt"/>
                <a:ea typeface="+mj-ea"/>
                <a:cs typeface="+mj-cs"/>
              </a:rPr>
              <a:t>Customer Needs</a:t>
            </a:r>
          </a:p>
        </p:txBody>
      </p:sp>
      <p:graphicFrame>
        <p:nvGraphicFramePr>
          <p:cNvPr id="6" name="Content Placeholder 2">
            <a:extLst>
              <a:ext uri="{FF2B5EF4-FFF2-40B4-BE49-F238E27FC236}">
                <a16:creationId xmlns:a16="http://schemas.microsoft.com/office/drawing/2014/main" id="{60C0C91E-F04A-4EE2-AA00-A5DB2210DDF9}"/>
              </a:ext>
            </a:extLst>
          </p:cNvPr>
          <p:cNvGraphicFramePr/>
          <p:nvPr/>
        </p:nvGraphicFramePr>
        <p:xfrm>
          <a:off x="5280025" y="642938"/>
          <a:ext cx="6269038" cy="55721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4414932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336162-B533-4EFE-8BB3-8EBB4A5E32F8}"/>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314384" cy="685800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EC99634-DC35-4059-8E30-21039EF40C36}"/>
              </a:ext>
            </a:extLst>
          </p:cNvPr>
          <p:cNvSpPr>
            <a:spLocks noGrp="1"/>
          </p:cNvSpPr>
          <p:nvPr>
            <p:ph type="title"/>
          </p:nvPr>
        </p:nvSpPr>
        <p:spPr>
          <a:xfrm>
            <a:off x="829781" y="2745736"/>
            <a:ext cx="3698803" cy="1366528"/>
          </a:xfrm>
          <a:solidFill>
            <a:srgbClr val="FFFFFF"/>
          </a:solidFill>
          <a:ln w="25400" cap="sq">
            <a:solidFill>
              <a:srgbClr val="404040"/>
            </a:solidFill>
            <a:miter lim="800000"/>
          </a:ln>
        </p:spPr>
        <p:txBody>
          <a:bodyPr vert="horz" lIns="91440" tIns="45720" rIns="91440" bIns="45720" rtlCol="0" anchor="ctr">
            <a:normAutofit/>
          </a:bodyPr>
          <a:lstStyle/>
          <a:p>
            <a:pPr algn="ctr"/>
            <a:r>
              <a:rPr lang="en-US" sz="3200" kern="1200">
                <a:solidFill>
                  <a:srgbClr val="262626"/>
                </a:solidFill>
                <a:latin typeface="+mj-lt"/>
                <a:ea typeface="+mj-ea"/>
                <a:cs typeface="+mj-cs"/>
              </a:rPr>
              <a:t>Customer Objections</a:t>
            </a:r>
          </a:p>
        </p:txBody>
      </p:sp>
      <p:sp>
        <p:nvSpPr>
          <p:cNvPr id="4" name="Content Placeholder 2">
            <a:extLst>
              <a:ext uri="{FF2B5EF4-FFF2-40B4-BE49-F238E27FC236}">
                <a16:creationId xmlns:a16="http://schemas.microsoft.com/office/drawing/2014/main" id="{DD7BF4F5-7A3E-4288-84DA-430641FBE0A7}"/>
              </a:ext>
            </a:extLst>
          </p:cNvPr>
          <p:cNvSpPr txBox="1">
            <a:spLocks/>
          </p:cNvSpPr>
          <p:nvPr/>
        </p:nvSpPr>
        <p:spPr>
          <a:xfrm>
            <a:off x="6049182" y="802638"/>
            <a:ext cx="5408696" cy="5252722"/>
          </a:xfrm>
          <a:prstGeom prst="rect">
            <a:avLst/>
          </a:prstGeom>
        </p:spPr>
        <p:txBody>
          <a:bodyPr vert="horz" lIns="91440" tIns="45720" rIns="91440" bIns="45720" rtlCol="0" anchor="ctr">
            <a:norm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Scale &amp; Performance:</a:t>
            </a:r>
          </a:p>
          <a:p>
            <a:pPr marL="573088" marR="0" lvl="1" indent="-342900" algn="l" defTabSz="914400" rtl="0" eaLnBrk="1" fontAlgn="base" latinLnBrk="0" hangingPunct="1">
              <a:lnSpc>
                <a:spcPct val="90000"/>
              </a:lnSpc>
              <a:spcBef>
                <a:spcPts val="600"/>
              </a:spcBef>
              <a:spcAft>
                <a:spcPct val="0"/>
              </a:spcAft>
              <a:buClr>
                <a:srgbClr val="0070C0"/>
              </a:buClr>
              <a:buSzPct val="80000"/>
              <a:buFont typeface="Wingdings" panose="05000000000000000000" pitchFamily="2" charset="2"/>
              <a:buChar char="ü"/>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I do not want to have to make code changes (or re-deploy) in order to change the scale of a website </a:t>
            </a:r>
            <a:b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kumimoji="0" lang="en-US" sz="22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Web App </a:t>
            </a:r>
            <a:r>
              <a:rPr kumimoji="0" lang="en-US" sz="2200" b="0" i="0" u="none" strike="noStrike" kern="1200" cap="none" spc="0" normalizeH="0" baseline="0" noProof="0" dirty="0" err="1">
                <a:ln>
                  <a:noFill/>
                </a:ln>
                <a:solidFill>
                  <a:srgbClr val="FFC000"/>
                </a:solidFill>
                <a:effectLst/>
                <a:uLnTx/>
                <a:uFillTx/>
                <a:latin typeface="Calibri" panose="020F0502020204030204"/>
                <a:ea typeface="+mn-ea"/>
                <a:cs typeface="Segoe UI" pitchFamily="34" charset="0"/>
              </a:rPr>
              <a:t>AutoScale</a:t>
            </a: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573088" marR="0" lvl="1" indent="-342900" algn="l" defTabSz="914400" rtl="0" eaLnBrk="1" fontAlgn="base" latinLnBrk="0" hangingPunct="1">
              <a:lnSpc>
                <a:spcPct val="90000"/>
              </a:lnSpc>
              <a:spcBef>
                <a:spcPts val="600"/>
              </a:spcBef>
              <a:spcAft>
                <a:spcPct val="0"/>
              </a:spcAft>
              <a:buClr>
                <a:srgbClr val="0070C0"/>
              </a:buClr>
              <a:buSzPct val="80000"/>
              <a:buFont typeface="Wingdings" panose="05000000000000000000" pitchFamily="2" charset="2"/>
              <a:buChar char="ü"/>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I hear Azure Web Sites is only useful for websites with small amounts of traffic; will it really support the heavy traffic we receive? </a:t>
            </a:r>
            <a:r>
              <a:rPr kumimoji="0" lang="en-US" sz="22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Select Premium Web App Plan</a:t>
            </a: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573088" marR="0" lvl="1" indent="-342900" algn="l" defTabSz="914400" rtl="0" eaLnBrk="1" fontAlgn="base" latinLnBrk="0" hangingPunct="1">
              <a:lnSpc>
                <a:spcPct val="90000"/>
              </a:lnSpc>
              <a:spcBef>
                <a:spcPts val="600"/>
              </a:spcBef>
              <a:spcAft>
                <a:spcPct val="0"/>
              </a:spcAft>
              <a:buClr>
                <a:srgbClr val="0070C0"/>
              </a:buClr>
              <a:buSzPct val="80000"/>
              <a:buFont typeface="Wingdings" panose="05000000000000000000" pitchFamily="2" charset="2"/>
              <a:buChar char="ü"/>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We would prefer to avoid performing a database migration (e.g., to another server) in order to scale the throughput of our database </a:t>
            </a:r>
            <a:r>
              <a:rPr kumimoji="0" lang="en-US" sz="22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SQL DB Scaling </a:t>
            </a: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573088" marR="0" lvl="1" indent="-342900" algn="l" defTabSz="914400" rtl="0" eaLnBrk="1" fontAlgn="base" latinLnBrk="0" hangingPunct="1">
              <a:lnSpc>
                <a:spcPct val="90000"/>
              </a:lnSpc>
              <a:spcBef>
                <a:spcPts val="600"/>
              </a:spcBef>
              <a:spcAft>
                <a:spcPct val="0"/>
              </a:spcAft>
              <a:buClr>
                <a:srgbClr val="0070C0"/>
              </a:buClr>
              <a:buSzPct val="80000"/>
              <a:buFont typeface="Wingdings" panose="05000000000000000000" pitchFamily="2" charset="2"/>
              <a:buChar char="ü"/>
              <a:tabLst/>
              <a:defRPr/>
            </a:pPr>
            <a:r>
              <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We have heard SQL Database does not provide consistent performance, is this true? </a:t>
            </a:r>
            <a:r>
              <a:rPr kumimoji="0" lang="en-US" sz="22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SQL DTU Plan </a:t>
            </a: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p:txBody>
      </p:sp>
    </p:spTree>
    <p:custDataLst>
      <p:tags r:id="rId1"/>
    </p:custDataLst>
    <p:extLst>
      <p:ext uri="{BB962C8B-B14F-4D97-AF65-F5344CB8AC3E}">
        <p14:creationId xmlns:p14="http://schemas.microsoft.com/office/powerpoint/2010/main" val="2359277009"/>
      </p:ext>
    </p:extLst>
  </p:cSld>
  <p:clrMapOvr>
    <a:overrideClrMapping bg1="dk1" tx1="lt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F8A7F7F-DD1A-4F41-98AC-B9CE2A620CDC}"/>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200399"/>
            <a:chOff x="697883" y="1816768"/>
            <a:chExt cx="3674476" cy="3200399"/>
          </a:xfrm>
          <a:solidFill>
            <a:schemeClr val="accent1"/>
          </a:solidFill>
        </p:grpSpPr>
        <p:sp>
          <p:nvSpPr>
            <p:cNvPr id="10" name="Rectangle 9">
              <a:extLst>
                <a:ext uri="{FF2B5EF4-FFF2-40B4-BE49-F238E27FC236}">
                  <a16:creationId xmlns:a16="http://schemas.microsoft.com/office/drawing/2014/main" id="{CEF47228-EB7C-4EBA-BE01-DA6CB2410289}"/>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1" name="Rectangle 10">
              <a:extLst>
                <a:ext uri="{FF2B5EF4-FFF2-40B4-BE49-F238E27FC236}">
                  <a16:creationId xmlns:a16="http://schemas.microsoft.com/office/drawing/2014/main" id="{DCF573BC-A06F-4036-A3A8-9D07DDE62253}"/>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gradFill>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grpSp>
      <p:sp>
        <p:nvSpPr>
          <p:cNvPr id="2" name="Title 1">
            <a:extLst>
              <a:ext uri="{FF2B5EF4-FFF2-40B4-BE49-F238E27FC236}">
                <a16:creationId xmlns:a16="http://schemas.microsoft.com/office/drawing/2014/main" id="{8742F1D5-6194-47C5-B943-C0F15320148A}"/>
              </a:ext>
            </a:extLst>
          </p:cNvPr>
          <p:cNvSpPr>
            <a:spLocks noGrp="1"/>
          </p:cNvSpPr>
          <p:nvPr>
            <p:ph type="title"/>
          </p:nvPr>
        </p:nvSpPr>
        <p:spPr>
          <a:xfrm>
            <a:off x="904877" y="2415322"/>
            <a:ext cx="3451730" cy="2399869"/>
          </a:xfrm>
        </p:spPr>
        <p:txBody>
          <a:bodyPr vert="horz" lIns="91440" tIns="45720" rIns="91440" bIns="45720" rtlCol="0" anchor="ctr">
            <a:normAutofit/>
          </a:bodyPr>
          <a:lstStyle/>
          <a:p>
            <a:r>
              <a:rPr lang="en-US" sz="4000" kern="1200">
                <a:solidFill>
                  <a:srgbClr val="FFFFFF"/>
                </a:solidFill>
                <a:latin typeface="+mj-lt"/>
                <a:ea typeface="+mj-ea"/>
                <a:cs typeface="+mj-cs"/>
              </a:rPr>
              <a:t>Customer Objections</a:t>
            </a:r>
          </a:p>
        </p:txBody>
      </p:sp>
      <p:sp>
        <p:nvSpPr>
          <p:cNvPr id="4" name="Content Placeholder 2">
            <a:extLst>
              <a:ext uri="{FF2B5EF4-FFF2-40B4-BE49-F238E27FC236}">
                <a16:creationId xmlns:a16="http://schemas.microsoft.com/office/drawing/2014/main" id="{255B6316-225A-4E6A-8E26-1F56EFFD8C42}"/>
              </a:ext>
            </a:extLst>
          </p:cNvPr>
          <p:cNvSpPr txBox="1">
            <a:spLocks/>
          </p:cNvSpPr>
          <p:nvPr/>
        </p:nvSpPr>
        <p:spPr>
          <a:xfrm>
            <a:off x="5120640" y="804672"/>
            <a:ext cx="6281928" cy="5248656"/>
          </a:xfrm>
          <a:prstGeom prst="rect">
            <a:avLst/>
          </a:prstGeom>
        </p:spPr>
        <p:txBody>
          <a:bodyPr vert="horz" lIns="91440" tIns="45720" rIns="91440" bIns="45720" rtlCol="0" anchor="ctr">
            <a:norm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Business Continuity:</a:t>
            </a:r>
          </a:p>
          <a:p>
            <a:pPr marL="573088" marR="0" lvl="1" indent="-342900" algn="l" defTabSz="914400" rtl="0" eaLnBrk="1" fontAlgn="base" latinLnBrk="0" hangingPunct="1">
              <a:lnSpc>
                <a:spcPct val="90000"/>
              </a:lnSpc>
              <a:spcBef>
                <a:spcPts val="600"/>
              </a:spcBef>
              <a:spcAft>
                <a:spcPct val="0"/>
              </a:spcAft>
              <a:buClr>
                <a:srgbClr val="0070C0"/>
              </a:buClr>
              <a:buSzPct val="80000"/>
              <a:buFont typeface="Wingdings" panose="05000000000000000000" pitchFamily="2" charset="2"/>
              <a:buChar char="ü"/>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How can we certain our data will survive in the event of a catastrophe in a certain part of the world?</a:t>
            </a:r>
            <a:b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kumimoji="0" lang="en-US" sz="20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HA for SQL DB + Web App with Traffic Manager</a:t>
            </a: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573088" marR="0" lvl="1" indent="-342900" algn="l" defTabSz="914400" rtl="0" eaLnBrk="1" fontAlgn="base" latinLnBrk="0" hangingPunct="1">
              <a:lnSpc>
                <a:spcPct val="90000"/>
              </a:lnSpc>
              <a:spcBef>
                <a:spcPts val="600"/>
              </a:spcBef>
              <a:spcAft>
                <a:spcPct val="0"/>
              </a:spcAft>
              <a:buClr>
                <a:srgbClr val="0070C0"/>
              </a:buClr>
              <a:buSzPct val="80000"/>
              <a:buFont typeface="Wingdings" panose="05000000000000000000" pitchFamily="2" charset="2"/>
              <a:buChar char="ü"/>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We need to be able to recover from mistakes made by administrators that accidentally delete production data (we know they happen, we would love an “undo”) </a:t>
            </a:r>
            <a:b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kumimoji="0" lang="en-US" sz="20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Web App Deployment Slots, SQL Backup</a:t>
            </a: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573088" marR="0" lvl="1" indent="-342900" algn="l" defTabSz="914400" rtl="0" eaLnBrk="1" fontAlgn="base" latinLnBrk="0" hangingPunct="1">
              <a:lnSpc>
                <a:spcPct val="90000"/>
              </a:lnSpc>
              <a:spcBef>
                <a:spcPts val="600"/>
              </a:spcBef>
              <a:spcAft>
                <a:spcPct val="0"/>
              </a:spcAft>
              <a:buClr>
                <a:srgbClr val="0070C0"/>
              </a:buClr>
              <a:buSzPct val="80000"/>
              <a:buFont typeface="Wingdings" panose="05000000000000000000" pitchFamily="2" charset="2"/>
              <a:buChar char="ü"/>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Do we need to have multiple web server instances for each property to have a high SLA?</a:t>
            </a:r>
            <a:b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kumimoji="0" lang="en-US" sz="20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Web Apps delivers a 99.95% SLA</a:t>
            </a: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p:txBody>
      </p:sp>
    </p:spTree>
    <p:custDataLst>
      <p:tags r:id="rId1"/>
    </p:custDataLst>
    <p:extLst>
      <p:ext uri="{BB962C8B-B14F-4D97-AF65-F5344CB8AC3E}">
        <p14:creationId xmlns:p14="http://schemas.microsoft.com/office/powerpoint/2010/main" val="1045186021"/>
      </p:ext>
    </p:extLst>
  </p:cSld>
  <p:clrMapOvr>
    <a:overrideClrMapping bg1="dk1" tx1="lt1" bg2="dk2" tx2="lt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E95D989-81FA-4BAD-9AD5-E46CEDA91B3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3"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56189E5-8A3E-4CFD-B71B-CCD0F8495E56}"/>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3" y="0"/>
            <a:ext cx="142074"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DA463FE-56C7-4E2D-834B-DC217FC853D1}"/>
              </a:ext>
            </a:extLst>
          </p:cNvPr>
          <p:cNvSpPr>
            <a:spLocks noGrp="1"/>
          </p:cNvSpPr>
          <p:nvPr>
            <p:ph type="title"/>
          </p:nvPr>
        </p:nvSpPr>
        <p:spPr>
          <a:xfrm>
            <a:off x="838200" y="811161"/>
            <a:ext cx="3335594" cy="5403370"/>
          </a:xfrm>
        </p:spPr>
        <p:txBody>
          <a:bodyPr vert="horz" lIns="91440" tIns="45720" rIns="91440" bIns="45720" rtlCol="0" anchor="ctr">
            <a:normAutofit/>
          </a:bodyPr>
          <a:lstStyle/>
          <a:p>
            <a:r>
              <a:rPr lang="en-US" kern="1200">
                <a:solidFill>
                  <a:schemeClr val="bg1"/>
                </a:solidFill>
                <a:latin typeface="+mj-lt"/>
                <a:ea typeface="+mj-ea"/>
                <a:cs typeface="+mj-cs"/>
              </a:rPr>
              <a:t>Customer Objections</a:t>
            </a:r>
          </a:p>
        </p:txBody>
      </p:sp>
      <p:graphicFrame>
        <p:nvGraphicFramePr>
          <p:cNvPr id="6" name="Content Placeholder 2">
            <a:extLst>
              <a:ext uri="{FF2B5EF4-FFF2-40B4-BE49-F238E27FC236}">
                <a16:creationId xmlns:a16="http://schemas.microsoft.com/office/drawing/2014/main" id="{FFD7D1A0-B1CC-453A-B862-0D882E989064}"/>
              </a:ext>
            </a:extLst>
          </p:cNvPr>
          <p:cNvGraphicFramePr/>
          <p:nvPr/>
        </p:nvGraphicFramePr>
        <p:xfrm>
          <a:off x="5459413" y="642938"/>
          <a:ext cx="6089650" cy="55721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79681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336162-B533-4EFE-8BB3-8EBB4A5E32F8}"/>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314384" cy="685800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BE4A7E8-0E68-4876-80EC-9DBA9F827DFC}"/>
              </a:ext>
            </a:extLst>
          </p:cNvPr>
          <p:cNvSpPr>
            <a:spLocks noGrp="1"/>
          </p:cNvSpPr>
          <p:nvPr>
            <p:ph type="title"/>
          </p:nvPr>
        </p:nvSpPr>
        <p:spPr>
          <a:xfrm>
            <a:off x="829781" y="2745736"/>
            <a:ext cx="3698803" cy="1366528"/>
          </a:xfrm>
          <a:solidFill>
            <a:srgbClr val="FFFFFF"/>
          </a:solidFill>
          <a:ln w="25400" cap="sq">
            <a:solidFill>
              <a:srgbClr val="404040"/>
            </a:solidFill>
            <a:miter lim="800000"/>
          </a:ln>
        </p:spPr>
        <p:txBody>
          <a:bodyPr vert="horz" lIns="91440" tIns="45720" rIns="91440" bIns="45720" rtlCol="0" anchor="ctr">
            <a:normAutofit/>
          </a:bodyPr>
          <a:lstStyle/>
          <a:p>
            <a:pPr algn="ctr"/>
            <a:r>
              <a:rPr lang="en-US" sz="3200" kern="1200">
                <a:solidFill>
                  <a:srgbClr val="262626"/>
                </a:solidFill>
                <a:latin typeface="+mj-lt"/>
                <a:ea typeface="+mj-ea"/>
                <a:cs typeface="+mj-cs"/>
              </a:rPr>
              <a:t>Customer Objections</a:t>
            </a:r>
          </a:p>
        </p:txBody>
      </p:sp>
      <p:sp>
        <p:nvSpPr>
          <p:cNvPr id="4" name="Content Placeholder 2">
            <a:extLst>
              <a:ext uri="{FF2B5EF4-FFF2-40B4-BE49-F238E27FC236}">
                <a16:creationId xmlns:a16="http://schemas.microsoft.com/office/drawing/2014/main" id="{E736D79B-53AC-40A6-8358-F5F2C6392347}"/>
              </a:ext>
            </a:extLst>
          </p:cNvPr>
          <p:cNvSpPr txBox="1">
            <a:spLocks/>
          </p:cNvSpPr>
          <p:nvPr/>
        </p:nvSpPr>
        <p:spPr>
          <a:xfrm>
            <a:off x="6049182" y="802638"/>
            <a:ext cx="5408696" cy="5252722"/>
          </a:xfrm>
          <a:prstGeom prst="rect">
            <a:avLst/>
          </a:prstGeom>
        </p:spPr>
        <p:txBody>
          <a:bodyPr vert="horz" lIns="91440" tIns="45720" rIns="91440" bIns="45720" rtlCol="0" anchor="ctr">
            <a:normAutofit lnSpcReduction="10000"/>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Management:</a:t>
            </a: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We would prefer not to have to manage patching of web servers and databases</a:t>
            </a:r>
            <a:b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kumimoji="0" lang="en-US" sz="24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It’s PAAS, you don’t manage the systems</a:t>
            </a: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With all of our websites and databases around the world, how do we keep tabs on which is up and which is down and which is struggling? </a:t>
            </a:r>
            <a:r>
              <a:rPr kumimoji="0" lang="en-US" sz="24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Log Analytics &amp; App Insights</a:t>
            </a: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We need a simple solution to schedule and automate backup of the website and database</a:t>
            </a:r>
            <a:b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kumimoji="0" lang="en-US" sz="2400" b="0" i="0" u="none" strike="noStrike" kern="1200" cap="none" spc="0" normalizeH="0" baseline="0" noProof="0" dirty="0">
                <a:ln>
                  <a:noFill/>
                </a:ln>
                <a:solidFill>
                  <a:srgbClr val="FFC000"/>
                </a:solidFill>
                <a:effectLst/>
                <a:uLnTx/>
                <a:uFillTx/>
                <a:latin typeface="Calibri" panose="020F0502020204030204"/>
                <a:ea typeface="+mn-ea"/>
                <a:cs typeface="Segoe UI" pitchFamily="34" charset="0"/>
              </a:rPr>
              <a:t>Built-in</a:t>
            </a: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p:txBody>
      </p:sp>
    </p:spTree>
    <p:custDataLst>
      <p:tags r:id="rId1"/>
    </p:custDataLst>
    <p:extLst>
      <p:ext uri="{BB962C8B-B14F-4D97-AF65-F5344CB8AC3E}">
        <p14:creationId xmlns:p14="http://schemas.microsoft.com/office/powerpoint/2010/main" val="3035075718"/>
      </p:ext>
    </p:extLst>
  </p:cSld>
  <p:clrMapOvr>
    <a:overrideClrMapping bg1="dk1" tx1="lt1" bg2="dk2" tx2="lt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336162-B533-4EFE-8BB3-8EBB4A5E32F8}"/>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314384" cy="6858000"/>
          </a:xfrm>
          <a:prstGeom prst="rect">
            <a:avLst/>
          </a:pr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4495FFA-D06D-4FA4-8CB3-B3F869F698FE}"/>
              </a:ext>
            </a:extLst>
          </p:cNvPr>
          <p:cNvSpPr>
            <a:spLocks noGrp="1"/>
          </p:cNvSpPr>
          <p:nvPr>
            <p:ph type="title"/>
          </p:nvPr>
        </p:nvSpPr>
        <p:spPr>
          <a:xfrm>
            <a:off x="829781" y="2745736"/>
            <a:ext cx="3698803" cy="1366528"/>
          </a:xfrm>
          <a:solidFill>
            <a:srgbClr val="FFFFFF"/>
          </a:solidFill>
          <a:ln w="25400" cap="sq">
            <a:solidFill>
              <a:srgbClr val="404040"/>
            </a:solidFill>
            <a:miter lim="800000"/>
          </a:ln>
        </p:spPr>
        <p:txBody>
          <a:bodyPr vert="horz" lIns="91440" tIns="45720" rIns="91440" bIns="45720" rtlCol="0" anchor="ctr">
            <a:normAutofit/>
          </a:bodyPr>
          <a:lstStyle/>
          <a:p>
            <a:pPr algn="ctr"/>
            <a:r>
              <a:rPr lang="en-US" sz="3200" kern="1200">
                <a:solidFill>
                  <a:srgbClr val="262626"/>
                </a:solidFill>
                <a:latin typeface="+mj-lt"/>
                <a:ea typeface="+mj-ea"/>
                <a:cs typeface="+mj-cs"/>
              </a:rPr>
              <a:t>Customer Objections</a:t>
            </a:r>
          </a:p>
        </p:txBody>
      </p:sp>
      <p:sp>
        <p:nvSpPr>
          <p:cNvPr id="4" name="Content Placeholder 2">
            <a:extLst>
              <a:ext uri="{FF2B5EF4-FFF2-40B4-BE49-F238E27FC236}">
                <a16:creationId xmlns:a16="http://schemas.microsoft.com/office/drawing/2014/main" id="{28A591D4-3BF4-44ED-BB36-2D3310AFDB3F}"/>
              </a:ext>
            </a:extLst>
          </p:cNvPr>
          <p:cNvSpPr txBox="1">
            <a:spLocks/>
          </p:cNvSpPr>
          <p:nvPr/>
        </p:nvSpPr>
        <p:spPr>
          <a:xfrm>
            <a:off x="6049182" y="802638"/>
            <a:ext cx="5408696" cy="5252722"/>
          </a:xfrm>
          <a:prstGeom prst="rect">
            <a:avLst/>
          </a:prstGeom>
        </p:spPr>
        <p:txBody>
          <a:bodyPr vert="horz" lIns="91440" tIns="45720" rIns="91440" bIns="45720" rtlCol="0" anchor="ctr">
            <a:normAutofit fontScale="92500" lnSpcReduction="20000"/>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Security:</a:t>
            </a:r>
          </a:p>
          <a:p>
            <a:pPr lvl="1" indent="-228600">
              <a:lnSpc>
                <a:spcPct val="90000"/>
              </a:lnSpc>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Is it possible to allow our visitors to use a mix of legacy and modern browsers and still provide for secure transactions?</a:t>
            </a:r>
            <a:b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lang="en-US" dirty="0">
                <a:solidFill>
                  <a:srgbClr val="FFC000"/>
                </a:solidFill>
                <a:latin typeface="Calibri" panose="020F0502020204030204"/>
              </a:rPr>
              <a:t>Sure, although Azure AD has some requirements and doesn’t support legacy browsers</a:t>
            </a:r>
            <a:endParaRPr lang="en-US" dirty="0">
              <a:solidFill>
                <a:prstClr val="white"/>
              </a:solidFill>
              <a:latin typeface="Calibri" panose="020F0502020204030204"/>
            </a:endParaRP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lvl="1" indent="-228600">
              <a:lnSpc>
                <a:spcPct val="90000"/>
              </a:lnSpc>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What does Azure offer to help us with auditing access to our web servers and databases?</a:t>
            </a:r>
            <a:b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lang="en-US" dirty="0">
                <a:solidFill>
                  <a:srgbClr val="FFC000"/>
                </a:solidFill>
                <a:latin typeface="Calibri" panose="020F0502020204030204"/>
              </a:rPr>
              <a:t>Azure AD auditing and Identity Protection; if using other Identity providers, check their capabilities</a:t>
            </a:r>
            <a:endParaRPr lang="en-US" dirty="0">
              <a:solidFill>
                <a:prstClr val="white"/>
              </a:solidFill>
              <a:latin typeface="Calibri" panose="020F0502020204030204"/>
            </a:endParaRP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a:p>
            <a:pPr marL="458788" marR="0" lvl="1" indent="-228600" algn="l" defTabSz="914400" rtl="0" eaLnBrk="1" fontAlgn="base" latinLnBrk="0" hangingPunct="1">
              <a:lnSpc>
                <a:spcPct val="90000"/>
              </a:lnSpc>
              <a:spcBef>
                <a:spcPts val="600"/>
              </a:spcBef>
              <a:spcAft>
                <a:spcPct val="0"/>
              </a:spcAft>
              <a:buClr>
                <a:srgbClr val="0070C0"/>
              </a:buClr>
              <a:buSzPct val="80000"/>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t>Our staff is to a single sign-on experience — will this still be possible?</a:t>
            </a:r>
            <a:b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rPr>
            </a:br>
            <a:r>
              <a:rPr lang="en-US" dirty="0">
                <a:solidFill>
                  <a:srgbClr val="FFC000"/>
                </a:solidFill>
                <a:latin typeface="Calibri" panose="020F0502020204030204"/>
              </a:rPr>
              <a:t>Azure AD relies on </a:t>
            </a:r>
            <a:r>
              <a:rPr lang="en-US" dirty="0" err="1">
                <a:solidFill>
                  <a:srgbClr val="FFC000"/>
                </a:solidFill>
                <a:latin typeface="Calibri" panose="020F0502020204030204"/>
              </a:rPr>
              <a:t>Oauth</a:t>
            </a:r>
            <a:r>
              <a:rPr lang="en-US" dirty="0">
                <a:solidFill>
                  <a:srgbClr val="FFC000"/>
                </a:solidFill>
                <a:latin typeface="Calibri" panose="020F0502020204030204"/>
              </a:rPr>
              <a:t> and </a:t>
            </a:r>
            <a:r>
              <a:rPr lang="en-US" dirty="0" err="1">
                <a:solidFill>
                  <a:srgbClr val="FFC000"/>
                </a:solidFill>
                <a:latin typeface="Calibri" panose="020F0502020204030204"/>
              </a:rPr>
              <a:t>OpenIDConnect</a:t>
            </a:r>
            <a:r>
              <a:rPr lang="en-US" dirty="0">
                <a:solidFill>
                  <a:srgbClr val="FFC000"/>
                </a:solidFill>
                <a:latin typeface="Calibri" panose="020F0502020204030204"/>
              </a:rPr>
              <a:t>, supports ADFS or other Federation too, which all offer SSO</a:t>
            </a:r>
          </a:p>
          <a:p>
            <a:pPr marL="174625" marR="0" lvl="0" indent="-228600" algn="l" defTabSz="914400" rtl="0" eaLnBrk="1" fontAlgn="base" latinLnBrk="0" hangingPunct="1">
              <a:lnSpc>
                <a:spcPct val="90000"/>
              </a:lnSpc>
              <a:spcBef>
                <a:spcPts val="600"/>
              </a:spcBef>
              <a:spcAft>
                <a:spcPct val="0"/>
              </a:spcAft>
              <a:buClr>
                <a:srgbClr val="0070C0"/>
              </a:buClr>
              <a:buSzPct val="90000"/>
              <a:buFont typeface="Arial"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Segoe UI" pitchFamily="34" charset="0"/>
            </a:endParaRPr>
          </a:p>
        </p:txBody>
      </p:sp>
    </p:spTree>
    <p:custDataLst>
      <p:tags r:id="rId1"/>
    </p:custDataLst>
    <p:extLst>
      <p:ext uri="{BB962C8B-B14F-4D97-AF65-F5344CB8AC3E}">
        <p14:creationId xmlns:p14="http://schemas.microsoft.com/office/powerpoint/2010/main" val="1229429599"/>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dirty="0"/>
              <a:t>From the green flag to the checkered flag, it takes a lot </a:t>
            </a:r>
            <a:br>
              <a:rPr lang="en-US" dirty="0"/>
            </a:br>
            <a:r>
              <a:rPr lang="en-US" dirty="0"/>
              <a:t>of technology horsepower to bring the spectacle of a </a:t>
            </a:r>
            <a:r>
              <a:rPr lang="en-US" dirty="0" err="1"/>
              <a:t>FastCar</a:t>
            </a:r>
            <a:r>
              <a:rPr lang="en-US" dirty="0"/>
              <a:t> Racing Inc. race to life. </a:t>
            </a:r>
            <a:br>
              <a:rPr lang="en-US" dirty="0"/>
            </a:br>
            <a:br>
              <a:rPr lang="en-US" dirty="0"/>
            </a:br>
            <a:r>
              <a:rPr lang="en-US" dirty="0"/>
              <a:t>To unify its race control systems and help make every race entertaining, fair, and safe, </a:t>
            </a:r>
            <a:r>
              <a:rPr lang="en-US" dirty="0" err="1"/>
              <a:t>FastCar</a:t>
            </a:r>
            <a:r>
              <a:rPr lang="en-US" dirty="0"/>
              <a:t> Racing Inc. is undergoing a full digital transformation of its IT landscape. </a:t>
            </a:r>
          </a:p>
          <a:p>
            <a:pPr marL="0" indent="0">
              <a:buNone/>
            </a:pPr>
            <a:endParaRPr lang="en-US" dirty="0"/>
          </a:p>
          <a:p>
            <a:pPr marL="0" indent="0">
              <a:buNone/>
            </a:pPr>
            <a:r>
              <a:rPr lang="en-US" dirty="0" err="1"/>
              <a:t>FastCar</a:t>
            </a:r>
            <a:r>
              <a:rPr lang="en-US" dirty="0"/>
              <a:t> Racing Inc. is looking for ways to make better race decisions, promote safety innovation, find new ways to engage content-hungry fans, and continue doing business at 200 miles an hour.</a:t>
            </a:r>
            <a:endParaRPr lang="fr-BE" dirty="0"/>
          </a:p>
        </p:txBody>
      </p:sp>
      <p:pic>
        <p:nvPicPr>
          <p:cNvPr id="7" name="Picture 6" descr="A view of a city street&#10;&#10;Description generated with very high confidence">
            <a:extLst>
              <a:ext uri="{FF2B5EF4-FFF2-40B4-BE49-F238E27FC236}">
                <a16:creationId xmlns:a16="http://schemas.microsoft.com/office/drawing/2014/main" id="{611B3EDA-2504-4E7C-B789-89DBE966C7F9}"/>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2886147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dirty="0" err="1"/>
              <a:t>FastCar</a:t>
            </a:r>
            <a:r>
              <a:rPr lang="en-US" dirty="0"/>
              <a:t> Racing Inc. outlined a hybrid cloud migration </a:t>
            </a:r>
            <a:br>
              <a:rPr lang="en-US" dirty="0"/>
            </a:br>
            <a:r>
              <a:rPr lang="en-US" dirty="0"/>
              <a:t>strategy, which it wants to see accomplished between now and the next </a:t>
            </a:r>
            <a:r>
              <a:rPr lang="en-BE" dirty="0"/>
              <a:t>1-2</a:t>
            </a:r>
            <a:r>
              <a:rPr lang="en-US" dirty="0"/>
              <a:t> years. By the end of 2021, it wants to have shut</a:t>
            </a:r>
            <a:r>
              <a:rPr lang="en-BE" dirty="0"/>
              <a:t> </a:t>
            </a:r>
            <a:r>
              <a:rPr lang="en-US" dirty="0"/>
              <a:t>down its on-premises datacenters completely.</a:t>
            </a:r>
          </a:p>
          <a:p>
            <a:pPr marL="0" indent="0">
              <a:buNone/>
            </a:pPr>
            <a:endParaRPr lang="en-US" dirty="0"/>
          </a:p>
          <a:p>
            <a:pPr marL="0" indent="0">
              <a:buNone/>
            </a:pPr>
            <a:r>
              <a:rPr lang="en-US" dirty="0"/>
              <a:t>Microsoft Azure has been chosen as future public cloud platform. A good combination of IaaS, PaaS and SaaS solutions will be part of this future platform, together with 3</a:t>
            </a:r>
            <a:r>
              <a:rPr lang="en-US" baseline="30000" dirty="0"/>
              <a:t>rd</a:t>
            </a:r>
            <a:r>
              <a:rPr lang="en-US" dirty="0"/>
              <a:t> party SaaS applications.</a:t>
            </a:r>
          </a:p>
          <a:p>
            <a:pPr marL="0" indent="0">
              <a:buNone/>
            </a:pPr>
            <a:endParaRPr lang="en-US" dirty="0"/>
          </a:p>
          <a:p>
            <a:pPr marL="0" indent="0">
              <a:buNone/>
            </a:pPr>
            <a:r>
              <a:rPr lang="en-US" dirty="0"/>
              <a:t>Your first task is outlining the different architectural designs, as well as identifying the different Azure services to be used. </a:t>
            </a:r>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72FF6D60-05E3-434C-A376-A2AA34411372}"/>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17057922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BE" b="1" dirty="0"/>
              <a:t>Overall </a:t>
            </a:r>
            <a:r>
              <a:rPr lang="en-US" b="1" dirty="0"/>
              <a:t>Business Requirements:</a:t>
            </a:r>
          </a:p>
          <a:p>
            <a:pPr>
              <a:buFontTx/>
              <a:buChar char="-"/>
            </a:pPr>
            <a:r>
              <a:rPr lang="en-US" dirty="0"/>
              <a:t>All application workloads, whether IaaS, PaaS or SaaS, should have an SLA of at least 99.9%</a:t>
            </a:r>
          </a:p>
          <a:p>
            <a:pPr>
              <a:buFontTx/>
              <a:buChar char="-"/>
            </a:pPr>
            <a:r>
              <a:rPr lang="en-US" dirty="0"/>
              <a:t>All current running solutions </a:t>
            </a:r>
            <a:r>
              <a:rPr lang="en-US" dirty="0" err="1"/>
              <a:t>hav</a:t>
            </a:r>
            <a:r>
              <a:rPr lang="en-BE" dirty="0" err="1"/>
              <a:t>ing</a:t>
            </a:r>
            <a:r>
              <a:rPr lang="en-US" dirty="0"/>
              <a:t> a recent Operating System (max. 5 years old), could be migrated using Lift &amp; Shift</a:t>
            </a:r>
          </a:p>
          <a:p>
            <a:pPr>
              <a:buFontTx/>
              <a:buChar char="-"/>
            </a:pPr>
            <a:r>
              <a:rPr lang="en-US" dirty="0"/>
              <a:t>Where possible and beneficial, PaaS or SaaS should be used</a:t>
            </a:r>
          </a:p>
          <a:p>
            <a:pPr>
              <a:buFontTx/>
              <a:buChar char="-"/>
            </a:pPr>
            <a:r>
              <a:rPr lang="en-US" dirty="0"/>
              <a:t>Data can be stored globally, with a preference for US and EU as region locations</a:t>
            </a:r>
          </a:p>
          <a:p>
            <a:pPr>
              <a:buFontTx/>
              <a:buChar char="-"/>
            </a:pPr>
            <a:r>
              <a:rPr lang="en-US" dirty="0"/>
              <a:t>All connectivity involving administrative management of systems and applications, is only allowed using a secure connection</a:t>
            </a:r>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8478C316-DEA0-49D6-9100-0EA171E6A740}"/>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3916278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b="1" dirty="0"/>
              <a:t>Business Requirements:</a:t>
            </a:r>
          </a:p>
          <a:p>
            <a:pPr>
              <a:buFontTx/>
              <a:buChar char="-"/>
            </a:pPr>
            <a:r>
              <a:rPr lang="en-US" dirty="0"/>
              <a:t>The public-facing website, developed in </a:t>
            </a:r>
            <a:r>
              <a:rPr lang="en-US" dirty="0" err="1"/>
              <a:t>.Net</a:t>
            </a:r>
            <a:r>
              <a:rPr lang="en-BE" dirty="0"/>
              <a:t>Core</a:t>
            </a:r>
            <a:r>
              <a:rPr lang="en-US" dirty="0"/>
              <a:t> with a SQL database back-end only </a:t>
            </a:r>
            <a:r>
              <a:rPr lang="en-BE" dirty="0"/>
              <a:t>2</a:t>
            </a:r>
            <a:r>
              <a:rPr lang="en-US" dirty="0"/>
              <a:t> years ago, should be available 24/7, especially during racing-season </a:t>
            </a:r>
            <a:endParaRPr lang="en-BE" dirty="0"/>
          </a:p>
          <a:p>
            <a:pPr>
              <a:buFontTx/>
              <a:buChar char="-"/>
            </a:pPr>
            <a:r>
              <a:rPr lang="en-US" dirty="0"/>
              <a:t>Based on historical log data, it should be able to handle 1,2 million user connections from all over the world. Users should not experience high latency, to optimize the experience and expose the core of the company, </a:t>
            </a:r>
            <a:r>
              <a:rPr lang="en-US" i="1" dirty="0"/>
              <a:t>being fast</a:t>
            </a:r>
            <a:endParaRPr lang="en-BE" i="1" dirty="0"/>
          </a:p>
          <a:p>
            <a:pPr>
              <a:buFontTx/>
              <a:buChar char="-"/>
            </a:pPr>
            <a:r>
              <a:rPr lang="en-BE" dirty="0"/>
              <a:t>No downtime is allowed during racing events, as it immediately harms the business</a:t>
            </a:r>
          </a:p>
          <a:p>
            <a:pPr>
              <a:buFontTx/>
              <a:buChar char="-"/>
            </a:pPr>
            <a:r>
              <a:rPr lang="en-BE" dirty="0"/>
              <a:t>The website gets updated about 3x per week, and the process is “right-click / publish” today. Can we optimize this?</a:t>
            </a:r>
            <a:br>
              <a:rPr lang="en-US" dirty="0"/>
            </a:br>
            <a:endParaRPr lang="en-US" dirty="0"/>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5623CA2D-08A2-441A-8F89-72456E4090FA}"/>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1798610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b="1" dirty="0"/>
              <a:t>Business Requirements:</a:t>
            </a:r>
          </a:p>
          <a:p>
            <a:pPr>
              <a:buFontTx/>
              <a:buChar char="-"/>
            </a:pPr>
            <a:r>
              <a:rPr lang="en-US" dirty="0"/>
              <a:t>About 40% of current fans user requests, always have the same subject, racing schedule and information on the racing pilots and teams. </a:t>
            </a:r>
            <a:r>
              <a:rPr lang="en-US" dirty="0" err="1"/>
              <a:t>Fastcar</a:t>
            </a:r>
            <a:r>
              <a:rPr lang="en-US" dirty="0"/>
              <a:t> Racing Inc. is interested in exploring any AI, linguistic and bot-alike services in this domain, allowing for increasing customer satisfaction, lowering the amount of work on the administrative back-end for handling these requests.</a:t>
            </a:r>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017E5CA1-A3E1-46E8-8C0D-4ECD1F78D247}"/>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3664469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b="1" dirty="0"/>
              <a:t>Business Requirements:</a:t>
            </a:r>
          </a:p>
          <a:p>
            <a:pPr>
              <a:buFontTx/>
              <a:buChar char="-"/>
            </a:pPr>
            <a:r>
              <a:rPr lang="en-US" dirty="0"/>
              <a:t>In the near future, all racing cars should become ‘smart cars”, using IOT as the technical enabler of logging all traceable data of a car in action. Together with Machine Learning, this will allow </a:t>
            </a:r>
            <a:r>
              <a:rPr lang="en-US" dirty="0" err="1"/>
              <a:t>FastCar</a:t>
            </a:r>
            <a:r>
              <a:rPr lang="en-US" dirty="0"/>
              <a:t> Racing Inc. to make racing even better, more enjoyable, cost efficient,… relying on near-</a:t>
            </a:r>
            <a:r>
              <a:rPr lang="en-US" dirty="0" err="1"/>
              <a:t>realtime</a:t>
            </a:r>
            <a:r>
              <a:rPr lang="en-US" dirty="0"/>
              <a:t> feedback from each car. </a:t>
            </a:r>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017E5CA1-A3E1-46E8-8C0D-4ECD1F78D247}"/>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3575812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C5BCE8-BE78-4F73-81EE-7C4A97DF7061}"/>
              </a:ext>
            </a:extLst>
          </p:cNvPr>
          <p:cNvSpPr>
            <a:spLocks noGrp="1"/>
          </p:cNvSpPr>
          <p:nvPr>
            <p:ph type="title"/>
          </p:nvPr>
        </p:nvSpPr>
        <p:spPr/>
        <p:txBody>
          <a:bodyPr/>
          <a:lstStyle/>
          <a:p>
            <a:r>
              <a:rPr lang="fr-BE" dirty="0"/>
              <a:t>The Exam </a:t>
            </a:r>
            <a:r>
              <a:rPr lang="fr-BE" dirty="0" err="1"/>
              <a:t>Prep</a:t>
            </a:r>
            <a:r>
              <a:rPr lang="fr-BE" dirty="0"/>
              <a:t> </a:t>
            </a:r>
            <a:r>
              <a:rPr lang="fr-BE" dirty="0" err="1"/>
              <a:t>Series</a:t>
            </a:r>
            <a:r>
              <a:rPr lang="fr-BE" dirty="0"/>
              <a:t> Case </a:t>
            </a:r>
            <a:r>
              <a:rPr lang="fr-BE" dirty="0" err="1"/>
              <a:t>Study</a:t>
            </a:r>
            <a:r>
              <a:rPr lang="fr-BE" dirty="0"/>
              <a:t> Scenario: </a:t>
            </a:r>
            <a:r>
              <a:rPr lang="fr-BE" dirty="0" err="1"/>
              <a:t>FastCar</a:t>
            </a:r>
            <a:r>
              <a:rPr lang="fr-BE" dirty="0"/>
              <a:t> Racing Inc.</a:t>
            </a:r>
          </a:p>
        </p:txBody>
      </p:sp>
      <p:sp>
        <p:nvSpPr>
          <p:cNvPr id="5" name="Text Placeholder 4">
            <a:extLst>
              <a:ext uri="{FF2B5EF4-FFF2-40B4-BE49-F238E27FC236}">
                <a16:creationId xmlns:a16="http://schemas.microsoft.com/office/drawing/2014/main" id="{4EBE316C-71F3-4FBC-82E0-674A375C1B04}"/>
              </a:ext>
            </a:extLst>
          </p:cNvPr>
          <p:cNvSpPr>
            <a:spLocks noGrp="1"/>
          </p:cNvSpPr>
          <p:nvPr>
            <p:ph type="body" sz="quarter" idx="13"/>
          </p:nvPr>
        </p:nvSpPr>
        <p:spPr/>
        <p:txBody>
          <a:bodyPr/>
          <a:lstStyle/>
          <a:p>
            <a:pPr marL="0" indent="0">
              <a:buNone/>
            </a:pPr>
            <a:r>
              <a:rPr lang="en-US" b="1" dirty="0"/>
              <a:t>Technical Requirements:</a:t>
            </a:r>
          </a:p>
          <a:p>
            <a:pPr>
              <a:buFontTx/>
              <a:buChar char="-"/>
            </a:pPr>
            <a:r>
              <a:rPr lang="en-US" dirty="0"/>
              <a:t>Everything should be set up according to Microsoft best practices, using Azure Services that are generally available. </a:t>
            </a:r>
          </a:p>
          <a:p>
            <a:pPr>
              <a:buFontTx/>
              <a:buChar char="-"/>
            </a:pPr>
            <a:r>
              <a:rPr lang="en-US" dirty="0"/>
              <a:t>To accommodate the business requirements, internal IT knows it has to leverage on the investment made the last few years around scripting and automation. Where possible, DevOps should be integrated in their overall way-of-operating.</a:t>
            </a:r>
          </a:p>
          <a:p>
            <a:pPr>
              <a:buFontTx/>
              <a:buChar char="-"/>
            </a:pPr>
            <a:r>
              <a:rPr lang="en-US" dirty="0"/>
              <a:t>Each corporate user gets a company laptop and mobile phone, allowing for remote working. Security </a:t>
            </a:r>
            <a:r>
              <a:rPr lang="en-BE" dirty="0"/>
              <a:t>solutions</a:t>
            </a:r>
            <a:r>
              <a:rPr lang="en-US" dirty="0"/>
              <a:t> need to be put in place to only allow Azure Active Directory with extensive security and identity capabilities as authentication mechanism to these devices.</a:t>
            </a:r>
          </a:p>
          <a:p>
            <a:pPr marL="0" indent="0">
              <a:buNone/>
            </a:pPr>
            <a:endParaRPr lang="en-US" dirty="0"/>
          </a:p>
          <a:p>
            <a:pPr marL="0" indent="0">
              <a:buNone/>
            </a:pPr>
            <a:endParaRPr lang="fr-BE" dirty="0"/>
          </a:p>
        </p:txBody>
      </p:sp>
      <p:pic>
        <p:nvPicPr>
          <p:cNvPr id="6" name="Picture 5" descr="A view of a city street&#10;&#10;Description generated with very high confidence">
            <a:extLst>
              <a:ext uri="{FF2B5EF4-FFF2-40B4-BE49-F238E27FC236}">
                <a16:creationId xmlns:a16="http://schemas.microsoft.com/office/drawing/2014/main" id="{38B7C1EB-F6A7-4DE3-A115-9BC93EA8D10F}"/>
              </a:ext>
            </a:extLst>
          </p:cNvPr>
          <p:cNvPicPr>
            <a:picLocks noChangeAspect="1"/>
          </p:cNvPicPr>
          <p:nvPr/>
        </p:nvPicPr>
        <p:blipFill rotWithShape="1">
          <a:blip r:embed="rId4">
            <a:extLst>
              <a:ext uri="{28A0092B-C50C-407E-A947-70E740481C1C}">
                <a14:useLocalDpi xmlns:a14="http://schemas.microsoft.com/office/drawing/2010/main" val="0"/>
              </a:ext>
            </a:extLst>
          </a:blip>
          <a:srcRect t="1747"/>
          <a:stretch/>
        </p:blipFill>
        <p:spPr>
          <a:xfrm>
            <a:off x="9510973" y="0"/>
            <a:ext cx="2681027" cy="1508078"/>
          </a:xfrm>
          <a:prstGeom prst="rect">
            <a:avLst/>
          </a:prstGeom>
        </p:spPr>
      </p:pic>
    </p:spTree>
    <p:custDataLst>
      <p:tags r:id="rId1"/>
    </p:custDataLst>
    <p:extLst>
      <p:ext uri="{BB962C8B-B14F-4D97-AF65-F5344CB8AC3E}">
        <p14:creationId xmlns:p14="http://schemas.microsoft.com/office/powerpoint/2010/main" val="1016382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7653564dcc2f25d07f5b7f80db0b453b&quot;,&quot;LanguageCode&quot;:&quot;en-US&quot;,&quot;SlideGuids&quot;:[&quot;247016eb-651f-4bf6-bf1e-eed2a5ee7614&quot;,&quot;1ea5d92f-aee5-4848-b723-2062e81ef5ef&quot;,&quot;ac5b454b-8102-4f6f-b5ee-679911235747&quot;,&quot;98c2eda4-8bad-460d-a20e-02f34617f0d9&quot;,&quot;e537330d-04d3-479c-af02-6c3258d9141a&quot;,&quot;25a04b9b-cf22-4f06-8e75-1d003bcde219&quot;,&quot;ed67e89b-a8a4-43c5-b317-4281ffbcbfcc&quot;,&quot;ac651dd0-f71e-45c5-873f-7bb2f099f9ff&quot;,&quot;946f11fa-554e-48cf-a17c-ca81c36b36d6&quot;,&quot;d923478d-0850-401b-bdc9-98710d9d5b83&quot;,&quot;e44dce22-68c4-46ce-857a-fd03b4a2e56d&quot;,&quot;f846140e-1231-4c01-b097-60438a93623b&quot;,&quot;8060a890-ba35-4d27-8caf-c3ab17908320&quot;,&quot;c09290fc-0f59-4d95-862a-a47356cbc799&quot;,&quot;873da6bf-583b-46af-8ae8-4350dae630a6&quot;,&quot;e8b10383-0ba3-4e21-9dbe-e3a52b9f306d&quot;,&quot;82dde72c-5a3c-4ca7-91e9-a0ddfe756b60&quot;,&quot;7e4a27e5-088b-47e7-b9e2-a7f098afc905&quot;,&quot;90dad10a-861d-4ef4-9bd5-14acf9822b9b&quot;,&quot;7cad3957-b6c7-4a52-9244-dec58ac1da87&quot;,&quot;ab1c09d0-b6fd-4ac0-bc93-fb609392f331&quot;,&quot;62808104-0eea-4234-a1f5-146dfad66394&quot;,&quot;7a78fbd3-359e-4d7c-a627-60b71249258e&quot;,&quot;d3c65bcf-8b1c-48f0-aad7-f34a3c3b1dcb&quot;,&quot;63a95f56-6fef-4269-92db-4d5c674095e6&quot;,&quot;82dc4003-8c65-4dc3-ba13-d5b48e5451e0&quot;],&quot;TimeStamp&quot;:&quot;2018-09-07T14:52:11.7800283+02: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25a04b9b-cf22-4f06-8e75-1d003bcde219&quot;,&quot;TimeStamp&quot;:&quot;2018-09-07T14:52:11.7660335+02:0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ed67e89b-a8a4-43c5-b317-4281ffbcbfcc&quot;,&quot;TimeStamp&quot;:&quot;2018-09-07T14:52:11.7680307+02:00&quot;}"/>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ac651dd0-f71e-45c5-873f-7bb2f099f9ff&quot;,&quot;TimeStamp&quot;:&quot;2018-09-07T14:52:11.7690333+02:00&quot;}"/>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ac651dd0-f71e-45c5-873f-7bb2f099f9ff&quot;,&quot;TimeStamp&quot;:&quot;2018-09-07T14:52:11.7690333+02:00&quot;}"/>
</p:tagLst>
</file>

<file path=ppt/tags/tag14.xml><?xml version="1.0" encoding="utf-8"?>
<p:tagLst xmlns:a="http://schemas.openxmlformats.org/drawingml/2006/main" xmlns:r="http://schemas.openxmlformats.org/officeDocument/2006/relationships" xmlns:p="http://schemas.openxmlformats.org/presentationml/2006/main">
  <p:tag name="__MICROSOFT_TRANSLATOR_CLM_SLIDEINFO" val="{&quot;Guid&quot;:&quot;946f11fa-554e-48cf-a17c-ca81c36b36d6&quot;,&quot;TimeStamp&quot;:&quot;2018-09-07T14:52:11.7690333+02:00&quot;}"/>
</p:tagLst>
</file>

<file path=ppt/tags/tag15.xml><?xml version="1.0" encoding="utf-8"?>
<p:tagLst xmlns:a="http://schemas.openxmlformats.org/drawingml/2006/main" xmlns:r="http://schemas.openxmlformats.org/officeDocument/2006/relationships" xmlns:p="http://schemas.openxmlformats.org/presentationml/2006/main">
  <p:tag name="__MICROSOFT_TRANSLATOR_CLM_SLIDEINFO" val="{&quot;Guid&quot;:&quot;e44dce22-68c4-46ce-857a-fd03b4a2e56d&quot;,&quot;TimeStamp&quot;:&quot;2018-09-07T14:52:11.7710299+02:00&quot;}"/>
</p:tagLst>
</file>

<file path=ppt/tags/tag16.xml><?xml version="1.0" encoding="utf-8"?>
<p:tagLst xmlns:a="http://schemas.openxmlformats.org/drawingml/2006/main" xmlns:r="http://schemas.openxmlformats.org/officeDocument/2006/relationships" xmlns:p="http://schemas.openxmlformats.org/presentationml/2006/main">
  <p:tag name="__MICROSOFT_TRANSLATOR_CLM_SLIDEINFO" val="{&quot;Guid&quot;:&quot;f846140e-1231-4c01-b097-60438a93623b&quot;,&quot;TimeStamp&quot;:&quot;2018-09-07T14:52:11.7710299+02:00&quot;}"/>
</p:tagLst>
</file>

<file path=ppt/tags/tag17.xml><?xml version="1.0" encoding="utf-8"?>
<p:tagLst xmlns:a="http://schemas.openxmlformats.org/drawingml/2006/main" xmlns:r="http://schemas.openxmlformats.org/officeDocument/2006/relationships" xmlns:p="http://schemas.openxmlformats.org/presentationml/2006/main">
  <p:tag name="__MICROSOFT_TRANSLATOR_CLM_SLIDEINFO" val="{&quot;Guid&quot;:&quot;8060a890-ba35-4d27-8caf-c3ab17908320&quot;,&quot;TimeStamp&quot;:&quot;2018-09-07T14:52:11.77203+02:00&quot;}"/>
</p:tagLst>
</file>

<file path=ppt/tags/tag18.xml><?xml version="1.0" encoding="utf-8"?>
<p:tagLst xmlns:a="http://schemas.openxmlformats.org/drawingml/2006/main" xmlns:r="http://schemas.openxmlformats.org/officeDocument/2006/relationships" xmlns:p="http://schemas.openxmlformats.org/presentationml/2006/main">
  <p:tag name="__MICROSOFT_TRANSLATOR_CLM_SLIDEINFO" val="{&quot;Guid&quot;:&quot;c09290fc-0f59-4d95-862a-a47356cbc799&quot;,&quot;TimeStamp&quot;:&quot;2018-09-07T14:52:11.77203+02:00&quot;}"/>
</p:tagLst>
</file>

<file path=ppt/tags/tag19.xml><?xml version="1.0" encoding="utf-8"?>
<p:tagLst xmlns:a="http://schemas.openxmlformats.org/drawingml/2006/main" xmlns:r="http://schemas.openxmlformats.org/officeDocument/2006/relationships" xmlns:p="http://schemas.openxmlformats.org/presentationml/2006/main">
  <p:tag name="__MICROSOFT_TRANSLATOR_CLM_SLIDEINFO" val="{&quot;Guid&quot;:&quot;873da6bf-583b-46af-8ae8-4350dae630a6&quot;,&quot;TimeStamp&quot;:&quot;2018-09-07T14:52:11.7730302+02:00&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__MICROSOFT_TRANSLATOR_CLM_SLIDEINFO" val="{&quot;Guid&quot;:&quot;e8b10383-0ba3-4e21-9dbe-e3a52b9f306d&quot;,&quot;TimeStamp&quot;:&quot;2018-09-07T14:52:11.7740318+02:00&quot;}"/>
</p:tagLst>
</file>

<file path=ppt/tags/tag21.xml><?xml version="1.0" encoding="utf-8"?>
<p:tagLst xmlns:a="http://schemas.openxmlformats.org/drawingml/2006/main" xmlns:r="http://schemas.openxmlformats.org/officeDocument/2006/relationships" xmlns:p="http://schemas.openxmlformats.org/presentationml/2006/main">
  <p:tag name="__MICROSOFT_TRANSLATOR_CLM_SLIDEINFO" val="{&quot;Guid&quot;:&quot;82dde72c-5a3c-4ca7-91e9-a0ddfe756b60&quot;,&quot;TimeStamp&quot;:&quot;2018-09-07T14:52:11.7740318+02:00&quot;}"/>
</p:tagLst>
</file>

<file path=ppt/tags/tag22.xml><?xml version="1.0" encoding="utf-8"?>
<p:tagLst xmlns:a="http://schemas.openxmlformats.org/drawingml/2006/main" xmlns:r="http://schemas.openxmlformats.org/officeDocument/2006/relationships" xmlns:p="http://schemas.openxmlformats.org/presentationml/2006/main">
  <p:tag name="__MICROSOFT_TRANSLATOR_CLM_SLIDEINFO" val="{&quot;Guid&quot;:&quot;7e4a27e5-088b-47e7-b9e2-a7f098afc905&quot;,&quot;TimeStamp&quot;:&quot;2018-09-07T14:52:11.7750327+02:00&quot;}"/>
</p:tagLst>
</file>

<file path=ppt/tags/tag23.xml><?xml version="1.0" encoding="utf-8"?>
<p:tagLst xmlns:a="http://schemas.openxmlformats.org/drawingml/2006/main" xmlns:r="http://schemas.openxmlformats.org/officeDocument/2006/relationships" xmlns:p="http://schemas.openxmlformats.org/presentationml/2006/main">
  <p:tag name="__MICROSOFT_TRANSLATOR_CLM_SLIDEINFO" val="{&quot;Guid&quot;:&quot;90dad10a-861d-4ef4-9bd5-14acf9822b9b&quot;,&quot;TimeStamp&quot;:&quot;2018-09-07T14:52:11.7750327+02:00&quot;}"/>
</p:tagLst>
</file>

<file path=ppt/tags/tag24.xml><?xml version="1.0" encoding="utf-8"?>
<p:tagLst xmlns:a="http://schemas.openxmlformats.org/drawingml/2006/main" xmlns:r="http://schemas.openxmlformats.org/officeDocument/2006/relationships" xmlns:p="http://schemas.openxmlformats.org/presentationml/2006/main">
  <p:tag name="__MICROSOFT_TRANSLATOR_CLM_SLIDEINFO" val="{&quot;Guid&quot;:&quot;7cad3957-b6c7-4a52-9244-dec58ac1da87&quot;,&quot;TimeStamp&quot;:&quot;2018-09-07T14:52:11.7760312+02:00&quot;}"/>
</p:tagLst>
</file>

<file path=ppt/tags/tag25.xml><?xml version="1.0" encoding="utf-8"?>
<p:tagLst xmlns:a="http://schemas.openxmlformats.org/drawingml/2006/main" xmlns:r="http://schemas.openxmlformats.org/officeDocument/2006/relationships" xmlns:p="http://schemas.openxmlformats.org/presentationml/2006/main">
  <p:tag name="__MICROSOFT_TRANSLATOR_CLM_SLIDEINFO" val="{&quot;Guid&quot;:&quot;ab1c09d0-b6fd-4ac0-bc93-fb609392f331&quot;,&quot;TimeStamp&quot;:&quot;2018-09-07T14:52:11.7760312+02:00&quot;}"/>
</p:tagLst>
</file>

<file path=ppt/tags/tag26.xml><?xml version="1.0" encoding="utf-8"?>
<p:tagLst xmlns:a="http://schemas.openxmlformats.org/drawingml/2006/main" xmlns:r="http://schemas.openxmlformats.org/officeDocument/2006/relationships" xmlns:p="http://schemas.openxmlformats.org/presentationml/2006/main">
  <p:tag name="__MICROSOFT_TRANSLATOR_CLM_SLIDEINFO" val="{&quot;Guid&quot;:&quot;62808104-0eea-4234-a1f5-146dfad66394&quot;,&quot;TimeStamp&quot;:&quot;2018-09-07T14:52:11.7770276+02:00&quot;}"/>
</p:tagLst>
</file>

<file path=ppt/tags/tag27.xml><?xml version="1.0" encoding="utf-8"?>
<p:tagLst xmlns:a="http://schemas.openxmlformats.org/drawingml/2006/main" xmlns:r="http://schemas.openxmlformats.org/officeDocument/2006/relationships" xmlns:p="http://schemas.openxmlformats.org/presentationml/2006/main">
  <p:tag name="__MICROSOFT_TRANSLATOR_CLM_SLIDEINFO" val="{&quot;Guid&quot;:&quot;7a78fbd3-359e-4d7c-a627-60b71249258e&quot;,&quot;TimeStamp&quot;:&quot;2018-09-07T14:52:11.7770276+02:00&quot;}"/>
</p:tagLst>
</file>

<file path=ppt/tags/tag28.xml><?xml version="1.0" encoding="utf-8"?>
<p:tagLst xmlns:a="http://schemas.openxmlformats.org/drawingml/2006/main" xmlns:r="http://schemas.openxmlformats.org/officeDocument/2006/relationships" xmlns:p="http://schemas.openxmlformats.org/presentationml/2006/main">
  <p:tag name="__MICROSOFT_TRANSLATOR_CLM_SLIDEINFO" val="{&quot;Guid&quot;:&quot;d3c65bcf-8b1c-48f0-aad7-f34a3c3b1dcb&quot;,&quot;TimeStamp&quot;:&quot;2018-09-07T14:52:11.778027+02:00&quot;}"/>
</p:tagLst>
</file>

<file path=ppt/tags/tag29.xml><?xml version="1.0" encoding="utf-8"?>
<p:tagLst xmlns:a="http://schemas.openxmlformats.org/drawingml/2006/main" xmlns:r="http://schemas.openxmlformats.org/officeDocument/2006/relationships" xmlns:p="http://schemas.openxmlformats.org/presentationml/2006/main">
  <p:tag name="__MICROSOFT_TRANSLATOR_CLM_SLIDEINFO" val="{&quot;Guid&quot;:&quot;63a95f56-6fef-4269-92db-4d5c674095e6&quot;,&quot;TimeStamp&quot;:&quot;2018-09-07T14:52:11.778027+02:0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247016eb-651f-4bf6-bf1e-eed2a5ee7614&quot;,&quot;TimeStamp&quot;:&quot;2018-09-07T14:52:11.7150288+02:00&quot;}"/>
</p:tagLst>
</file>

<file path=ppt/tags/tag30.xml><?xml version="1.0" encoding="utf-8"?>
<p:tagLst xmlns:a="http://schemas.openxmlformats.org/drawingml/2006/main" xmlns:r="http://schemas.openxmlformats.org/officeDocument/2006/relationships" xmlns:p="http://schemas.openxmlformats.org/presentationml/2006/main">
  <p:tag name="__MICROSOFT_TRANSLATOR_CLM_SLIDEINFO" val="{&quot;Guid&quot;:&quot;82dc4003-8c65-4dc3-ba13-d5b48e5451e0&quot;,&quot;TimeStamp&quot;:&quot;2018-09-07T14:52:11.7790277+02: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4c45559a-8cc9-452d-83e5-db4fc1283eea&quot;,&quot;TimeStamp&quot;:&quot;2018-09-05T09:16:07.1699421+02: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1ea5d92f-aee5-4848-b723-2062e81ef5ef&quot;,&quot;TimeStamp&quot;:&quot;2018-09-07T14:52:11.7600298+02: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ac5b454b-8102-4f6f-b5ee-679911235747&quot;,&quot;TimeStamp&quot;:&quot;2018-09-07T14:52:11.7610296+02:0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98c2eda4-8bad-460d-a20e-02f34617f0d9&quot;,&quot;TimeStamp&quot;:&quot;2018-09-07T14:52:11.7630348+02: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e537330d-04d3-479c-af02-6c3258d9141a&quot;,&quot;TimeStamp&quot;:&quot;2018-09-07T14:52:11.7650368+02:0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25a04b9b-cf22-4f06-8e75-1d003bcde219&quot;,&quot;TimeStamp&quot;:&quot;2018-09-07T14:52:11.7660335+02:00&quot;}"/>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C">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365 PPT Template - 2017">
  <a:themeElements>
    <a:clrScheme name="Custom 14">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Azure Template" id="{B32F314F-E45C-424F-8747-33778F2CF0CC}" vid="{FE8281A1-C32C-491E-BCE9-9B970BE8EBC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400</TotalTime>
  <Words>3041</Words>
  <Application>Microsoft Office PowerPoint</Application>
  <PresentationFormat>Widescreen</PresentationFormat>
  <Paragraphs>221</Paragraphs>
  <Slides>28</Slides>
  <Notes>26</Notes>
  <HiddenSlides>2</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1" baseType="lpstr">
      <vt:lpstr>Arial</vt:lpstr>
      <vt:lpstr>Calibri</vt:lpstr>
      <vt:lpstr>Calibri Light</vt:lpstr>
      <vt:lpstr>Segoe UI</vt:lpstr>
      <vt:lpstr>Segoe UI Light</vt:lpstr>
      <vt:lpstr>Segoe UI Semibold</vt:lpstr>
      <vt:lpstr>Trebuchet MS</vt:lpstr>
      <vt:lpstr>Verdana</vt:lpstr>
      <vt:lpstr>Wingdings</vt:lpstr>
      <vt:lpstr>1_Office Theme</vt:lpstr>
      <vt:lpstr>2_Office Theme</vt:lpstr>
      <vt:lpstr>Office 365 PPT Template - 2017</vt:lpstr>
      <vt:lpstr>think-cell Slide</vt:lpstr>
      <vt:lpstr>Case Study Scenario: FastCar Racing Inc.  aka.ms/FastCarCase </vt:lpstr>
      <vt:lpstr>PaaS Services Case Study</vt:lpstr>
      <vt:lpstr>The Exam Prep Series Case Study Scenario: FastCar Racing Inc.</vt:lpstr>
      <vt:lpstr>The Exam Prep Series Case Study Scenario: FastCar Racing Inc.</vt:lpstr>
      <vt:lpstr>The Exam Prep Series Case Study Scenario: FastCar Racing Inc.</vt:lpstr>
      <vt:lpstr>The Exam Prep Series Case Study Scenario: FastCar Racing Inc.</vt:lpstr>
      <vt:lpstr>The Exam Prep Series Case Study Scenario: FastCar Racing Inc.</vt:lpstr>
      <vt:lpstr>The Exam Prep Series Case Study Scenario: FastCar Racing Inc.</vt:lpstr>
      <vt:lpstr>The Exam Prep Series Case Study Scenario: FastCar Racing Inc.</vt:lpstr>
      <vt:lpstr>The Exam Prep Series Case Study Scenario: FastCar Racing Inc.</vt:lpstr>
      <vt:lpstr>The Exam Prep Series Case Study Scenario: FastCar Racing Inc.</vt:lpstr>
      <vt:lpstr>The Exam Prep Series Case Study Scenario: FastCar Racing Inc.</vt:lpstr>
      <vt:lpstr>Customer Needs</vt:lpstr>
      <vt:lpstr>Customer Objections</vt:lpstr>
      <vt:lpstr>Customer Objections</vt:lpstr>
      <vt:lpstr>Customer Objections</vt:lpstr>
      <vt:lpstr>Customer Objections</vt:lpstr>
      <vt:lpstr>Customer Objections</vt:lpstr>
      <vt:lpstr>Happy Case-Studying </vt:lpstr>
      <vt:lpstr>Potential Solution</vt:lpstr>
      <vt:lpstr>Potential Solution</vt:lpstr>
      <vt:lpstr>Benefits</vt:lpstr>
      <vt:lpstr>Customer Needs</vt:lpstr>
      <vt:lpstr>Customer Objections</vt:lpstr>
      <vt:lpstr>Customer Objections</vt:lpstr>
      <vt:lpstr>Customer Objections</vt:lpstr>
      <vt:lpstr>Customer Objections</vt:lpstr>
      <vt:lpstr>Customer Obje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xam Prep Series Case Study Scenario: FastCar Racing Inc.</dc:title>
  <dc:creator>Peter De Tender</dc:creator>
  <cp:lastModifiedBy>Peter De Tender</cp:lastModifiedBy>
  <cp:revision>8</cp:revision>
  <cp:lastPrinted>2019-01-25T10:09:07Z</cp:lastPrinted>
  <dcterms:created xsi:type="dcterms:W3CDTF">2018-05-30T07:20:47Z</dcterms:created>
  <dcterms:modified xsi:type="dcterms:W3CDTF">2025-05-15T16:5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petender@microsoft.com</vt:lpwstr>
  </property>
  <property fmtid="{D5CDD505-2E9C-101B-9397-08002B2CF9AE}" pid="5" name="MSIP_Label_f42aa342-8706-4288-bd11-ebb85995028c_SetDate">
    <vt:lpwstr>2019-11-28T14:11:46.367362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bd87cc2b-60e2-4a91-95a3-40affbc9c1b4</vt:lpwstr>
  </property>
  <property fmtid="{D5CDD505-2E9C-101B-9397-08002B2CF9AE}" pid="9" name="MSIP_Label_f42aa342-8706-4288-bd11-ebb85995028c_Extended_MSFT_Method">
    <vt:lpwstr>Automatic</vt:lpwstr>
  </property>
  <property fmtid="{D5CDD505-2E9C-101B-9397-08002B2CF9AE}" pid="10" name="MSIP_Label_61af0c7b-1f78-4603-90cd-1a33785fac56_Enabled">
    <vt:lpwstr>True</vt:lpwstr>
  </property>
  <property fmtid="{D5CDD505-2E9C-101B-9397-08002B2CF9AE}" pid="11" name="MSIP_Label_61af0c7b-1f78-4603-90cd-1a33785fac56_SiteId">
    <vt:lpwstr>60b6e067-b3b8-43b1-82c1-f7a19a076ded</vt:lpwstr>
  </property>
  <property fmtid="{D5CDD505-2E9C-101B-9397-08002B2CF9AE}" pid="12" name="MSIP_Label_61af0c7b-1f78-4603-90cd-1a33785fac56_Owner">
    <vt:lpwstr>peter@pdtit.be</vt:lpwstr>
  </property>
  <property fmtid="{D5CDD505-2E9C-101B-9397-08002B2CF9AE}" pid="13" name="MSIP_Label_61af0c7b-1f78-4603-90cd-1a33785fac56_SetDate">
    <vt:lpwstr>2018-06-20T02:35:45.1786457Z</vt:lpwstr>
  </property>
  <property fmtid="{D5CDD505-2E9C-101B-9397-08002B2CF9AE}" pid="14" name="MSIP_Label_61af0c7b-1f78-4603-90cd-1a33785fac56_Name">
    <vt:lpwstr>General</vt:lpwstr>
  </property>
  <property fmtid="{D5CDD505-2E9C-101B-9397-08002B2CF9AE}" pid="15" name="MSIP_Label_61af0c7b-1f78-4603-90cd-1a33785fac56_Application">
    <vt:lpwstr>Microsoft Azure Information Protection</vt:lpwstr>
  </property>
  <property fmtid="{D5CDD505-2E9C-101B-9397-08002B2CF9AE}" pid="16" name="MSIP_Label_61af0c7b-1f78-4603-90cd-1a33785fac56_Extended_MSFT_Method">
    <vt:lpwstr>Automatic</vt:lpwstr>
  </property>
  <property fmtid="{D5CDD505-2E9C-101B-9397-08002B2CF9AE}" pid="17" name="Sensitivity">
    <vt:lpwstr>General General</vt:lpwstr>
  </property>
</Properties>
</file>